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14.xml" ContentType="application/vnd.openxmlformats-officedocument.presentationml.notesSlide+xml"/>
  <Override PartName="/ppt/media/image25.jpg" ContentType="image/jpg"/>
  <Override PartName="/ppt/media/image26.jpg" ContentType="image/jpg"/>
  <Override PartName="/ppt/media/image29.jpg" ContentType="image/jpg"/>
  <Override PartName="/ppt/media/image30.jpg" ContentType="image/jp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8" r:id="rId2"/>
  </p:sldMasterIdLst>
  <p:notesMasterIdLst>
    <p:notesMasterId r:id="rId23"/>
  </p:notesMasterIdLst>
  <p:sldIdLst>
    <p:sldId id="401" r:id="rId3"/>
    <p:sldId id="770" r:id="rId4"/>
    <p:sldId id="866" r:id="rId5"/>
    <p:sldId id="873" r:id="rId6"/>
    <p:sldId id="870" r:id="rId7"/>
    <p:sldId id="865" r:id="rId8"/>
    <p:sldId id="853" r:id="rId9"/>
    <p:sldId id="869" r:id="rId10"/>
    <p:sldId id="852" r:id="rId11"/>
    <p:sldId id="857" r:id="rId12"/>
    <p:sldId id="864" r:id="rId13"/>
    <p:sldId id="863" r:id="rId14"/>
    <p:sldId id="874" r:id="rId15"/>
    <p:sldId id="871" r:id="rId16"/>
    <p:sldId id="843" r:id="rId17"/>
    <p:sldId id="867" r:id="rId18"/>
    <p:sldId id="846" r:id="rId19"/>
    <p:sldId id="847" r:id="rId20"/>
    <p:sldId id="848" r:id="rId21"/>
    <p:sldId id="832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88529" autoAdjust="0"/>
  </p:normalViewPr>
  <p:slideViewPr>
    <p:cSldViewPr snapToGrid="0">
      <p:cViewPr varScale="1">
        <p:scale>
          <a:sx n="114" d="100"/>
          <a:sy n="114" d="100"/>
        </p:scale>
        <p:origin x="47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1914260717410323E-2"/>
          <c:y val="0.23148148148148148"/>
          <c:w val="0.87753018372703417"/>
          <c:h val="0.555215806357538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6</c:f>
              <c:strCache>
                <c:ptCount val="1"/>
                <c:pt idx="0">
                  <c:v>Staff </c:v>
                </c:pt>
              </c:strCache>
            </c:strRef>
          </c:tx>
          <c:spPr>
            <a:solidFill>
              <a:srgbClr val="0779B7"/>
            </a:solidFill>
            <a:ln>
              <a:noFill/>
            </a:ln>
            <a:effectLst/>
          </c:spPr>
          <c:invertIfNegative val="0"/>
          <c:cat>
            <c:numRef>
              <c:f>Sheet1!$A$22:$A$28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Sheet1!$B$22:$B$28</c:f>
              <c:numCache>
                <c:formatCode>General</c:formatCode>
                <c:ptCount val="7"/>
                <c:pt idx="0">
                  <c:v>6820</c:v>
                </c:pt>
                <c:pt idx="1">
                  <c:v>6709</c:v>
                </c:pt>
                <c:pt idx="2">
                  <c:v>6894</c:v>
                </c:pt>
                <c:pt idx="3">
                  <c:v>6894</c:v>
                </c:pt>
                <c:pt idx="4">
                  <c:v>6949</c:v>
                </c:pt>
                <c:pt idx="5">
                  <c:v>6878</c:v>
                </c:pt>
                <c:pt idx="6">
                  <c:v>67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8E-4649-89B0-BAE9366A9B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41310488"/>
        <c:axId val="341310160"/>
      </c:barChart>
      <c:lineChart>
        <c:grouping val="standard"/>
        <c:varyColors val="0"/>
        <c:ser>
          <c:idx val="1"/>
          <c:order val="1"/>
          <c:tx>
            <c:strRef>
              <c:f>Sheet1!$C$16</c:f>
              <c:strCache>
                <c:ptCount val="1"/>
                <c:pt idx="0">
                  <c:v>Branches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Sheet1!$A$22:$A$28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Sheet1!$C$22:$C$28</c:f>
              <c:numCache>
                <c:formatCode>General</c:formatCode>
                <c:ptCount val="7"/>
                <c:pt idx="0">
                  <c:v>559</c:v>
                </c:pt>
                <c:pt idx="1">
                  <c:v>546</c:v>
                </c:pt>
                <c:pt idx="2">
                  <c:v>519</c:v>
                </c:pt>
                <c:pt idx="3">
                  <c:v>519</c:v>
                </c:pt>
                <c:pt idx="4">
                  <c:v>503</c:v>
                </c:pt>
                <c:pt idx="5">
                  <c:v>488</c:v>
                </c:pt>
                <c:pt idx="6">
                  <c:v>4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B8E-4649-89B0-BAE9366A9B7B}"/>
            </c:ext>
          </c:extLst>
        </c:ser>
        <c:ser>
          <c:idx val="2"/>
          <c:order val="2"/>
          <c:tx>
            <c:strRef>
              <c:f>Sheet1!$D$16</c:f>
              <c:strCache>
                <c:ptCount val="1"/>
                <c:pt idx="0">
                  <c:v>ATMs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numRef>
              <c:f>Sheet1!$A$22:$A$28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Sheet1!$D$22:$D$28</c:f>
              <c:numCache>
                <c:formatCode>General</c:formatCode>
                <c:ptCount val="7"/>
                <c:pt idx="0">
                  <c:v>912</c:v>
                </c:pt>
                <c:pt idx="1">
                  <c:v>866</c:v>
                </c:pt>
                <c:pt idx="2">
                  <c:v>852</c:v>
                </c:pt>
                <c:pt idx="3">
                  <c:v>852</c:v>
                </c:pt>
                <c:pt idx="4">
                  <c:v>853</c:v>
                </c:pt>
                <c:pt idx="5">
                  <c:v>795</c:v>
                </c:pt>
                <c:pt idx="6">
                  <c:v>7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B8E-4649-89B0-BAE9366A9B7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61214943"/>
        <c:axId val="1361213279"/>
      </c:lineChart>
      <c:catAx>
        <c:axId val="341310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1310160"/>
        <c:crosses val="autoZero"/>
        <c:auto val="1"/>
        <c:lblAlgn val="ctr"/>
        <c:lblOffset val="100"/>
        <c:noMultiLvlLbl val="0"/>
      </c:catAx>
      <c:valAx>
        <c:axId val="34131016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1310488"/>
        <c:crosses val="autoZero"/>
        <c:crossBetween val="between"/>
      </c:valAx>
      <c:valAx>
        <c:axId val="1361213279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1214943"/>
        <c:crosses val="max"/>
        <c:crossBetween val="between"/>
      </c:valAx>
      <c:catAx>
        <c:axId val="136121494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36121327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4654658792650919"/>
          <c:y val="8.3911490230387839E-2"/>
          <c:w val="0.48468438320209972"/>
          <c:h val="7.81255468066491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C5699C-13C9-459F-8137-EBCACBE2B697}" type="datetimeFigureOut">
              <a:rPr lang="en-US" smtClean="0"/>
              <a:t>10/2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4C1C56-A9FF-4983-B54C-CC0ED112924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61813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4C1C56-A9FF-4983-B54C-CC0ED1129240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56724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4C1C56-A9FF-4983-B54C-CC0ED1129240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0278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4C1C56-A9FF-4983-B54C-CC0ED1129240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1770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4C1C56-A9FF-4983-B54C-CC0ED1129240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2578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4C1C56-A9FF-4983-B54C-CC0ED1129240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2540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4C1C56-A9FF-4983-B54C-CC0ED1129240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7245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4C1C56-A9FF-4983-B54C-CC0ED1129240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17698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4C1C56-A9FF-4983-B54C-CC0ED1129240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6733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4C1C56-A9FF-4983-B54C-CC0ED1129240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7100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4C1C56-A9FF-4983-B54C-CC0ED1129240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0024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4C1C56-A9FF-4983-B54C-CC0ED1129240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18922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dirty="0">
              <a:latin typeface="Trebuchet MS"/>
              <a:cs typeface="Trebuchet MS"/>
            </a:endParaRP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4C1C56-A9FF-4983-B54C-CC0ED1129240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05184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4C1C56-A9FF-4983-B54C-CC0ED1129240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1389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4C1C56-A9FF-4983-B54C-CC0ED1129240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8026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12" y="1442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2" y="1442"/>
                        <a:ext cx="1809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7716" y="1084008"/>
            <a:ext cx="11396569" cy="5231137"/>
          </a:xfrm>
        </p:spPr>
        <p:txBody>
          <a:bodyPr>
            <a:noAutofit/>
          </a:bodyPr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en-US" noProof="0"/>
              <a:t>The first level</a:t>
            </a:r>
          </a:p>
          <a:p>
            <a:pPr lvl="1"/>
            <a:r>
              <a:rPr lang="en-US" noProof="0"/>
              <a:t>The sencond level</a:t>
            </a:r>
          </a:p>
          <a:p>
            <a:pPr lvl="2"/>
            <a:r>
              <a:rPr lang="en-US" noProof="0"/>
              <a:t>The third level</a:t>
            </a:r>
          </a:p>
          <a:p>
            <a:pPr lvl="3"/>
            <a:r>
              <a:rPr lang="en-US" noProof="0"/>
              <a:t>The fourth level</a:t>
            </a:r>
          </a:p>
          <a:p>
            <a:pPr lvl="4"/>
            <a:r>
              <a:rPr lang="en-US" noProof="0"/>
              <a:t>The fifth level</a:t>
            </a:r>
          </a:p>
        </p:txBody>
      </p:sp>
      <p:cxnSp>
        <p:nvCxnSpPr>
          <p:cNvPr id="12" name="Gerade Verbindung 11"/>
          <p:cNvCxnSpPr/>
          <p:nvPr/>
        </p:nvCxnSpPr>
        <p:spPr>
          <a:xfrm>
            <a:off x="287900" y="6423025"/>
            <a:ext cx="11618384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397716" y="215900"/>
            <a:ext cx="8353178" cy="56746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/>
              <a:t>Click here to add your title</a:t>
            </a:r>
          </a:p>
        </p:txBody>
      </p:sp>
      <p:sp>
        <p:nvSpPr>
          <p:cNvPr id="15" name="Date Placeholder 15"/>
          <p:cNvSpPr>
            <a:spLocks noGrp="1"/>
          </p:cNvSpPr>
          <p:nvPr>
            <p:ph type="dt" sz="half" idx="2"/>
          </p:nvPr>
        </p:nvSpPr>
        <p:spPr>
          <a:xfrm>
            <a:off x="4245908" y="644790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068A38AF-A167-4C25-99A6-5D10DF23024B}" type="datetime1">
              <a:rPr lang="en-US" smtClean="0"/>
              <a:t>10/2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03989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5332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6">
                <a:solidFill>
                  <a:schemeClr val="tx1">
                    <a:tint val="75000"/>
                  </a:schemeClr>
                </a:solidFill>
              </a:defRPr>
            </a:lvl1pPr>
            <a:lvl2pPr marL="609422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2pPr>
            <a:lvl3pPr marL="1218845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267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4pPr>
            <a:lvl5pPr marL="2437689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5pPr>
            <a:lvl6pPr marL="3047111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6pPr>
            <a:lvl7pPr marL="3656534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7pPr>
            <a:lvl8pPr marL="4265955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8pPr>
            <a:lvl9pPr marL="4875378" indent="0">
              <a:buNone/>
              <a:defRPr sz="186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BB7561-AF2A-4810-9353-72F3467CA5B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A Brave New World? The Future of Banking in Emerging Europ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62129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3732"/>
            </a:lvl1pPr>
            <a:lvl2pPr>
              <a:defRPr sz="3199"/>
            </a:lvl2pPr>
            <a:lvl3pPr>
              <a:defRPr sz="2666"/>
            </a:lvl3pPr>
            <a:lvl4pPr>
              <a:defRPr sz="2399"/>
            </a:lvl4pPr>
            <a:lvl5pPr>
              <a:defRPr sz="2399"/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3732"/>
            </a:lvl1pPr>
            <a:lvl2pPr>
              <a:defRPr sz="3199"/>
            </a:lvl2pPr>
            <a:lvl3pPr>
              <a:defRPr sz="2666"/>
            </a:lvl3pPr>
            <a:lvl4pPr>
              <a:defRPr sz="2399"/>
            </a:lvl4pPr>
            <a:lvl5pPr>
              <a:defRPr sz="2399"/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51D65-FD84-4A05-A743-28EFB10FC42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A Brave New World? The Future of Banking in Emerging Europe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03074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3199" b="1"/>
            </a:lvl1pPr>
            <a:lvl2pPr marL="609422" indent="0">
              <a:buNone/>
              <a:defRPr sz="2666" b="1"/>
            </a:lvl2pPr>
            <a:lvl3pPr marL="1218845" indent="0">
              <a:buNone/>
              <a:defRPr sz="2399" b="1"/>
            </a:lvl3pPr>
            <a:lvl4pPr marL="1828267" indent="0">
              <a:buNone/>
              <a:defRPr sz="2133" b="1"/>
            </a:lvl4pPr>
            <a:lvl5pPr marL="2437689" indent="0">
              <a:buNone/>
              <a:defRPr sz="2133" b="1"/>
            </a:lvl5pPr>
            <a:lvl6pPr marL="3047111" indent="0">
              <a:buNone/>
              <a:defRPr sz="2133" b="1"/>
            </a:lvl6pPr>
            <a:lvl7pPr marL="3656534" indent="0">
              <a:buNone/>
              <a:defRPr sz="2133" b="1"/>
            </a:lvl7pPr>
            <a:lvl8pPr marL="4265955" indent="0">
              <a:buNone/>
              <a:defRPr sz="2133" b="1"/>
            </a:lvl8pPr>
            <a:lvl9pPr marL="48753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3199"/>
            </a:lvl1pPr>
            <a:lvl2pPr>
              <a:defRPr sz="2666"/>
            </a:lvl2pPr>
            <a:lvl3pPr>
              <a:defRPr sz="2399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5114"/>
            <a:ext cx="5389033" cy="639763"/>
          </a:xfrm>
        </p:spPr>
        <p:txBody>
          <a:bodyPr anchor="b"/>
          <a:lstStyle>
            <a:lvl1pPr marL="0" indent="0">
              <a:buNone/>
              <a:defRPr sz="3199" b="1"/>
            </a:lvl1pPr>
            <a:lvl2pPr marL="609422" indent="0">
              <a:buNone/>
              <a:defRPr sz="2666" b="1"/>
            </a:lvl2pPr>
            <a:lvl3pPr marL="1218845" indent="0">
              <a:buNone/>
              <a:defRPr sz="2399" b="1"/>
            </a:lvl3pPr>
            <a:lvl4pPr marL="1828267" indent="0">
              <a:buNone/>
              <a:defRPr sz="2133" b="1"/>
            </a:lvl4pPr>
            <a:lvl5pPr marL="2437689" indent="0">
              <a:buNone/>
              <a:defRPr sz="2133" b="1"/>
            </a:lvl5pPr>
            <a:lvl6pPr marL="3047111" indent="0">
              <a:buNone/>
              <a:defRPr sz="2133" b="1"/>
            </a:lvl6pPr>
            <a:lvl7pPr marL="3656534" indent="0">
              <a:buNone/>
              <a:defRPr sz="2133" b="1"/>
            </a:lvl7pPr>
            <a:lvl8pPr marL="4265955" indent="0">
              <a:buNone/>
              <a:defRPr sz="2133" b="1"/>
            </a:lvl8pPr>
            <a:lvl9pPr marL="48753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3199"/>
            </a:lvl1pPr>
            <a:lvl2pPr>
              <a:defRPr sz="2666"/>
            </a:lvl2pPr>
            <a:lvl3pPr>
              <a:defRPr sz="2399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264E5-ACE1-47DC-BCDF-9FE78A5667F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A Brave New World? The Future of Banking in Emerging Europe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9626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A0ACF5-D424-481F-B6BB-B98C785360F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A Brave New World? The Future of Banking in Emerging Europe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1" cy="715961"/>
          </a:xfrm>
        </p:spPr>
        <p:txBody>
          <a:bodyPr>
            <a:normAutofit/>
          </a:bodyPr>
          <a:lstStyle>
            <a:lvl1pPr algn="l">
              <a:defRPr sz="3732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47907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6C6F6-99B0-4E02-9E2A-70923A2258F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A Brave New World? The Future of Banking in Emerging Europe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1" cy="715961"/>
          </a:xfrm>
        </p:spPr>
        <p:txBody>
          <a:bodyPr>
            <a:normAutofit/>
          </a:bodyPr>
          <a:lstStyle>
            <a:lvl1pPr algn="l">
              <a:defRPr sz="3732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990600"/>
            <a:ext cx="10972801" cy="508000"/>
          </a:xfrm>
        </p:spPr>
        <p:txBody>
          <a:bodyPr>
            <a:noAutofit/>
          </a:bodyPr>
          <a:lstStyle>
            <a:lvl1pPr marL="0" indent="0">
              <a:buNone/>
              <a:defRPr sz="1866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0924992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2250E5-695C-4B9F-AC93-6A70BD2F6A8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A Brave New World? The Future of Banking in Emerging Europ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7546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4" y="273050"/>
            <a:ext cx="4011084" cy="1162051"/>
          </a:xfrm>
        </p:spPr>
        <p:txBody>
          <a:bodyPr anchor="b"/>
          <a:lstStyle>
            <a:lvl1pPr algn="l">
              <a:defRPr sz="2666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4266"/>
            </a:lvl1pPr>
            <a:lvl2pPr>
              <a:defRPr sz="3732"/>
            </a:lvl2pPr>
            <a:lvl3pPr>
              <a:defRPr sz="3199"/>
            </a:lvl3pPr>
            <a:lvl4pPr>
              <a:defRPr sz="2666"/>
            </a:lvl4pPr>
            <a:lvl5pPr>
              <a:defRPr sz="2666"/>
            </a:lvl5pPr>
            <a:lvl6pPr>
              <a:defRPr sz="2666"/>
            </a:lvl6pPr>
            <a:lvl7pPr>
              <a:defRPr sz="2666"/>
            </a:lvl7pPr>
            <a:lvl8pPr>
              <a:defRPr sz="2666"/>
            </a:lvl8pPr>
            <a:lvl9pPr>
              <a:defRPr sz="266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4" y="1435103"/>
            <a:ext cx="4011084" cy="4691063"/>
          </a:xfrm>
        </p:spPr>
        <p:txBody>
          <a:bodyPr/>
          <a:lstStyle>
            <a:lvl1pPr marL="0" indent="0">
              <a:buNone/>
              <a:defRPr sz="1866"/>
            </a:lvl1pPr>
            <a:lvl2pPr marL="609422" indent="0">
              <a:buNone/>
              <a:defRPr sz="1600"/>
            </a:lvl2pPr>
            <a:lvl3pPr marL="1218845" indent="0">
              <a:buNone/>
              <a:defRPr sz="1333"/>
            </a:lvl3pPr>
            <a:lvl4pPr marL="1828267" indent="0">
              <a:buNone/>
              <a:defRPr sz="1200"/>
            </a:lvl4pPr>
            <a:lvl5pPr marL="2437689" indent="0">
              <a:buNone/>
              <a:defRPr sz="1200"/>
            </a:lvl5pPr>
            <a:lvl6pPr marL="3047111" indent="0">
              <a:buNone/>
              <a:defRPr sz="1200"/>
            </a:lvl6pPr>
            <a:lvl7pPr marL="3656534" indent="0">
              <a:buNone/>
              <a:defRPr sz="1200"/>
            </a:lvl7pPr>
            <a:lvl8pPr marL="4265955" indent="0">
              <a:buNone/>
              <a:defRPr sz="1200"/>
            </a:lvl8pPr>
            <a:lvl9pPr marL="48753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A6CCFC-9B21-445E-92A8-5FB8B923CDA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A Brave New World? The Future of Banking in Emerging Europe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7001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8" y="4800602"/>
            <a:ext cx="7315200" cy="566739"/>
          </a:xfrm>
        </p:spPr>
        <p:txBody>
          <a:bodyPr anchor="b"/>
          <a:lstStyle>
            <a:lvl1pPr algn="l">
              <a:defRPr sz="2666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8" y="612775"/>
            <a:ext cx="7315200" cy="4114800"/>
          </a:xfrm>
        </p:spPr>
        <p:txBody>
          <a:bodyPr/>
          <a:lstStyle>
            <a:lvl1pPr marL="0" indent="0">
              <a:buNone/>
              <a:defRPr sz="4266"/>
            </a:lvl1pPr>
            <a:lvl2pPr marL="609422" indent="0">
              <a:buNone/>
              <a:defRPr sz="3732"/>
            </a:lvl2pPr>
            <a:lvl3pPr marL="1218845" indent="0">
              <a:buNone/>
              <a:defRPr sz="3199"/>
            </a:lvl3pPr>
            <a:lvl4pPr marL="1828267" indent="0">
              <a:buNone/>
              <a:defRPr sz="2666"/>
            </a:lvl4pPr>
            <a:lvl5pPr marL="2437689" indent="0">
              <a:buNone/>
              <a:defRPr sz="2666"/>
            </a:lvl5pPr>
            <a:lvl6pPr marL="3047111" indent="0">
              <a:buNone/>
              <a:defRPr sz="2666"/>
            </a:lvl6pPr>
            <a:lvl7pPr marL="3656534" indent="0">
              <a:buNone/>
              <a:defRPr sz="2666"/>
            </a:lvl7pPr>
            <a:lvl8pPr marL="4265955" indent="0">
              <a:buNone/>
              <a:defRPr sz="2666"/>
            </a:lvl8pPr>
            <a:lvl9pPr marL="4875378" indent="0">
              <a:buNone/>
              <a:defRPr sz="2666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8" y="5367340"/>
            <a:ext cx="7315200" cy="804863"/>
          </a:xfrm>
        </p:spPr>
        <p:txBody>
          <a:bodyPr/>
          <a:lstStyle>
            <a:lvl1pPr marL="0" indent="0">
              <a:buNone/>
              <a:defRPr sz="1866"/>
            </a:lvl1pPr>
            <a:lvl2pPr marL="609422" indent="0">
              <a:buNone/>
              <a:defRPr sz="1600"/>
            </a:lvl2pPr>
            <a:lvl3pPr marL="1218845" indent="0">
              <a:buNone/>
              <a:defRPr sz="1333"/>
            </a:lvl3pPr>
            <a:lvl4pPr marL="1828267" indent="0">
              <a:buNone/>
              <a:defRPr sz="1200"/>
            </a:lvl4pPr>
            <a:lvl5pPr marL="2437689" indent="0">
              <a:buNone/>
              <a:defRPr sz="1200"/>
            </a:lvl5pPr>
            <a:lvl6pPr marL="3047111" indent="0">
              <a:buNone/>
              <a:defRPr sz="1200"/>
            </a:lvl6pPr>
            <a:lvl7pPr marL="3656534" indent="0">
              <a:buNone/>
              <a:defRPr sz="1200"/>
            </a:lvl7pPr>
            <a:lvl8pPr marL="4265955" indent="0">
              <a:buNone/>
              <a:defRPr sz="1200"/>
            </a:lvl8pPr>
            <a:lvl9pPr marL="48753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8E4ECA-94A3-4BDC-B762-BE644C78044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A Brave New World? The Future of Banking in Emerging Europe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38874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358733-EACF-4819-92B8-71D486FD93D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A Brave New World? The Future of Banking in Emerging Europ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8826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536BD-ADFB-4C0B-A87B-69C791B0F68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A Brave New World? The Future of Banking in Emerging Europ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32671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Gerade Verbindung 8"/>
          <p:cNvCxnSpPr/>
          <p:nvPr/>
        </p:nvCxnSpPr>
        <p:spPr>
          <a:xfrm>
            <a:off x="287900" y="6423025"/>
            <a:ext cx="11618384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elplatzhalter 1"/>
          <p:cNvSpPr>
            <a:spLocks noGrp="1"/>
          </p:cNvSpPr>
          <p:nvPr>
            <p:ph type="title"/>
          </p:nvPr>
        </p:nvSpPr>
        <p:spPr>
          <a:xfrm>
            <a:off x="397716" y="215900"/>
            <a:ext cx="8353178" cy="56746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/>
              <a:t>Click here to add your title</a:t>
            </a:r>
          </a:p>
        </p:txBody>
      </p:sp>
      <p:sp>
        <p:nvSpPr>
          <p:cNvPr id="14" name="Date Placeholder 15"/>
          <p:cNvSpPr>
            <a:spLocks noGrp="1"/>
          </p:cNvSpPr>
          <p:nvPr>
            <p:ph type="dt" sz="half" idx="2"/>
          </p:nvPr>
        </p:nvSpPr>
        <p:spPr>
          <a:xfrm>
            <a:off x="4245908" y="644790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EB33B220-71CA-4685-B0D9-529074C069AC}" type="datetime1">
              <a:rPr lang="en-US" smtClean="0"/>
              <a:t>10/2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10156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2A92D-AF07-48BE-A4FC-5A5E5CB6706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A Brave New World? The Future of Banking in Emerging Europe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1" cy="715961"/>
          </a:xfrm>
        </p:spPr>
        <p:txBody>
          <a:bodyPr>
            <a:normAutofit/>
          </a:bodyPr>
          <a:lstStyle>
            <a:lvl1pPr algn="l">
              <a:defRPr sz="3732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990600"/>
            <a:ext cx="10972801" cy="508000"/>
          </a:xfrm>
        </p:spPr>
        <p:txBody>
          <a:bodyPr>
            <a:noAutofit/>
          </a:bodyPr>
          <a:lstStyle>
            <a:lvl1pPr marL="0" indent="0">
              <a:buNone/>
              <a:defRPr sz="1866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5718309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bg>
      <p:bgPr>
        <a:gradFill flip="none" rotWithShape="1">
          <a:gsLst>
            <a:gs pos="81000">
              <a:schemeClr val="bg1">
                <a:lumMod val="95000"/>
              </a:schemeClr>
            </a:gs>
            <a:gs pos="0">
              <a:schemeClr val="bg1"/>
            </a:gs>
            <a:gs pos="100000">
              <a:schemeClr val="bg1">
                <a:lumMod val="9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4642"/>
            <a:ext cx="6705600" cy="711081"/>
          </a:xfrm>
        </p:spPr>
        <p:txBody>
          <a:bodyPr>
            <a:noAutofit/>
          </a:bodyPr>
          <a:lstStyle>
            <a:lvl1pPr>
              <a:defRPr sz="35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5F2A15-0241-435F-9CA7-397AE95E99D8}" type="datetime1">
              <a:rPr lang="en-US" smtClean="0"/>
              <a:t>10/2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A Brave New World? The Future of Banking in Emerging Europe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30000" y="6356354"/>
            <a:ext cx="762001" cy="365125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91440" rIns="0" bIns="91440" numCol="1" anchor="ctr" anchorCtr="1" compatLnSpc="1">
            <a:prstTxWarp prst="textNoShape">
              <a:avLst/>
            </a:prstTxWarp>
          </a:bodyPr>
          <a:lstStyle>
            <a:lvl1pPr algn="r">
              <a:defRPr lang="en-US" sz="1400" kern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6E69268-9C8B-4EBF-A9EE-DC5DC2D48DC3}" type="slidenum">
              <a:rPr lang="es-UY" smtClean="0"/>
              <a:pPr/>
              <a:t>‹#›</a:t>
            </a:fld>
            <a:endParaRPr lang="es-UY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7480301" y="362139"/>
            <a:ext cx="4114800" cy="533400"/>
          </a:xfrm>
        </p:spPr>
        <p:txBody>
          <a:bodyPr anchor="ctr">
            <a:noAutofit/>
          </a:bodyPr>
          <a:lstStyle>
            <a:lvl1pPr marL="0" indent="0" algn="r">
              <a:buNone/>
              <a:defRPr sz="1999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Breadcrumb 1 &gt; Breadcrumb 2</a:t>
            </a:r>
            <a:endParaRPr lang="es-UY" dirty="0"/>
          </a:p>
        </p:txBody>
      </p:sp>
    </p:spTree>
    <p:extLst>
      <p:ext uri="{BB962C8B-B14F-4D97-AF65-F5344CB8AC3E}">
        <p14:creationId xmlns:p14="http://schemas.microsoft.com/office/powerpoint/2010/main" val="14434750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2" y="179389"/>
            <a:ext cx="10617518" cy="630237"/>
          </a:xfrm>
        </p:spPr>
        <p:txBody>
          <a:bodyPr anchor="ctr"/>
          <a:lstStyle>
            <a:lvl1pPr>
              <a:defRPr sz="2800" b="1">
                <a:solidFill>
                  <a:srgbClr val="494F5A"/>
                </a:solidFill>
                <a:latin typeface="Futura CE Book" panose="02000504030000020003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sq-AL"/>
          </a:p>
        </p:txBody>
      </p:sp>
      <p:sp>
        <p:nvSpPr>
          <p:cNvPr id="8" name="Datumsplatzhalter 3"/>
          <p:cNvSpPr txBox="1">
            <a:spLocks noGrp="1"/>
          </p:cNvSpPr>
          <p:nvPr userDrawn="1">
            <p:custDataLst>
              <p:tags r:id="rId1"/>
            </p:custDataLst>
          </p:nvPr>
        </p:nvSpPr>
        <p:spPr bwMode="auto">
          <a:xfrm>
            <a:off x="5195887" y="6591483"/>
            <a:ext cx="1800225" cy="269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72000" anchor="b"/>
          <a:lstStyle/>
          <a:p>
            <a:pPr algn="ctr" eaLnBrk="0" hangingPunct="0"/>
            <a:fld id="{2669924F-0F80-4170-8917-BCCEB9D44D57}" type="datetime4">
              <a:rPr lang="en-US" sz="90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pPr algn="ctr" eaLnBrk="0" hangingPunct="0"/>
              <a:t>October 2, 2019</a:t>
            </a:fld>
            <a:endParaRPr lang="de-AT" sz="900">
              <a:solidFill>
                <a:schemeClr val="tx1">
                  <a:lumMod val="50000"/>
                  <a:lumOff val="50000"/>
                </a:schemeClr>
              </a:solidFill>
              <a:latin typeface="+mj-lt"/>
            </a:endParaRPr>
          </a:p>
        </p:txBody>
      </p:sp>
      <p:sp>
        <p:nvSpPr>
          <p:cNvPr id="12" name="Text Box 8"/>
          <p:cNvSpPr txBox="1">
            <a:spLocks noChangeArrowheads="1"/>
          </p:cNvSpPr>
          <p:nvPr userDrawn="1"/>
        </p:nvSpPr>
        <p:spPr bwMode="auto">
          <a:xfrm>
            <a:off x="11454726" y="6591483"/>
            <a:ext cx="504767" cy="258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72000" anchor="b"/>
          <a:lstStyle>
            <a:defPPr>
              <a:defRPr lang="sq-AL"/>
            </a:defPPr>
            <a:lvl1pPr algn="ctr" eaLnBrk="0" hangingPunct="0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Tahoma" pitchFamily="34" charset="0"/>
              </a:defRPr>
            </a:lvl1pPr>
            <a:lvl2pPr marL="742950" indent="-285750" eaLnBrk="0" hangingPunct="0">
              <a:defRPr sz="2000">
                <a:latin typeface="Century Gothic" pitchFamily="34" charset="0"/>
                <a:cs typeface="Arial" charset="0"/>
              </a:defRPr>
            </a:lvl2pPr>
            <a:lvl3pPr marL="1143000" indent="-228600" eaLnBrk="0" hangingPunct="0">
              <a:defRPr sz="2000">
                <a:latin typeface="Century Gothic" pitchFamily="34" charset="0"/>
                <a:cs typeface="Arial" charset="0"/>
              </a:defRPr>
            </a:lvl3pPr>
            <a:lvl4pPr marL="1600200" indent="-228600" eaLnBrk="0" hangingPunct="0">
              <a:defRPr sz="2000">
                <a:latin typeface="Century Gothic" pitchFamily="34" charset="0"/>
                <a:cs typeface="Arial" charset="0"/>
              </a:defRPr>
            </a:lvl4pPr>
            <a:lvl5pPr marL="2057400" indent="-228600" eaLnBrk="0" hangingPunct="0">
              <a:defRPr sz="2000">
                <a:latin typeface="Century Gothic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latin typeface="Century Gothic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latin typeface="Century Gothic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latin typeface="Century Gothic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latin typeface="Century Gothic" pitchFamily="34" charset="0"/>
                <a:cs typeface="Arial" charset="0"/>
              </a:defRPr>
            </a:lvl9pPr>
          </a:lstStyle>
          <a:p>
            <a:pPr lvl="0" algn="r"/>
            <a:r>
              <a:rPr lang="en-US" sz="900" dirty="0"/>
              <a:t> </a:t>
            </a:r>
            <a:r>
              <a:rPr lang="en-US" sz="900" b="1" dirty="0"/>
              <a:t>[ </a:t>
            </a:r>
            <a:fld id="{E70D91D5-E227-4366-AB4F-F99137B2D875}" type="slidenum">
              <a:rPr lang="en-US" sz="900" b="1" smtClean="0"/>
              <a:pPr lvl="0" algn="r"/>
              <a:t>‹#›</a:t>
            </a:fld>
            <a:r>
              <a:rPr lang="en-US" sz="900" b="1" dirty="0"/>
              <a:t> ]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748"/>
          <a:stretch/>
        </p:blipFill>
        <p:spPr>
          <a:xfrm>
            <a:off x="11454726" y="301037"/>
            <a:ext cx="394374" cy="386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91734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96">
          <p15:clr>
            <a:srgbClr val="FBAE40"/>
          </p15:clr>
        </p15:guide>
        <p15:guide id="2" orient="horz" pos="5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397716" y="215900"/>
            <a:ext cx="8353178" cy="56746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/>
              <a:t>Click here to add your title</a:t>
            </a:r>
          </a:p>
        </p:txBody>
      </p:sp>
      <p:sp>
        <p:nvSpPr>
          <p:cNvPr id="9" name="Date Placeholder 15"/>
          <p:cNvSpPr>
            <a:spLocks noGrp="1"/>
          </p:cNvSpPr>
          <p:nvPr>
            <p:ph type="dt" sz="half" idx="2"/>
          </p:nvPr>
        </p:nvSpPr>
        <p:spPr>
          <a:xfrm>
            <a:off x="4245908" y="644790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312F7A37-3E6A-45BE-A2A1-8E11F0DF47A9}" type="datetime1">
              <a:rPr lang="en-US" smtClean="0"/>
              <a:t>10/2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54440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42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1pPr>
            <a:lvl2pPr marL="47891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5783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43675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91567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39459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87351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35243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83135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239185" y="88902"/>
            <a:ext cx="11952816" cy="809625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5784" tIns="47892" rIns="95784" bIns="47892" anchor="ctr"/>
          <a:lstStyle/>
          <a:p>
            <a:pPr marL="0" marR="0" lvl="0" indent="0" algn="ctr" defTabSz="957838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Wingdings" pitchFamily="2" charset="2"/>
              <a:buNone/>
              <a:tabLst/>
              <a:defRPr/>
            </a:pPr>
            <a:endParaRPr kumimoji="0" lang="en-US" sz="1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13" name="Picture 13" descr="RaiffeisenBankInternational_1c_pos_transp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3335" y="269877"/>
            <a:ext cx="2999317" cy="449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Date Placeholder 15"/>
          <p:cNvSpPr>
            <a:spLocks noGrp="1"/>
          </p:cNvSpPr>
          <p:nvPr>
            <p:ph type="dt" sz="half" idx="2"/>
          </p:nvPr>
        </p:nvSpPr>
        <p:spPr>
          <a:xfrm>
            <a:off x="4245908" y="644790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B9FE45A5-381A-4C1A-A091-C179A65A51F4}" type="datetime1">
              <a:rPr lang="en-US" smtClean="0"/>
              <a:t>10/2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0129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15"/>
          <p:cNvSpPr>
            <a:spLocks noGrp="1"/>
          </p:cNvSpPr>
          <p:nvPr>
            <p:ph type="dt" sz="half" idx="2"/>
          </p:nvPr>
        </p:nvSpPr>
        <p:spPr>
          <a:xfrm>
            <a:off x="4245908" y="644790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260269C2-EF55-427D-B285-9B6CED411424}" type="datetime1">
              <a:rPr lang="en-US" smtClean="0"/>
              <a:t>10/2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2548492"/>
      </p:ext>
    </p:extLst>
  </p:cSld>
  <p:clrMapOvr>
    <a:masterClrMapping/>
  </p:clrMapOvr>
  <p:transition>
    <p:zoom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397716" y="215900"/>
            <a:ext cx="8353178" cy="56746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/>
              <a:t>Click here to add your title</a:t>
            </a:r>
          </a:p>
        </p:txBody>
      </p:sp>
      <p:sp>
        <p:nvSpPr>
          <p:cNvPr id="9" name="Date Placeholder 15"/>
          <p:cNvSpPr>
            <a:spLocks noGrp="1"/>
          </p:cNvSpPr>
          <p:nvPr>
            <p:ph type="dt" sz="half" idx="2"/>
          </p:nvPr>
        </p:nvSpPr>
        <p:spPr>
          <a:xfrm>
            <a:off x="4245908" y="644790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432A68B2-DD7C-464E-A6A8-EE0C0E8B01C2}" type="datetime1">
              <a:rPr lang="en-US" smtClean="0"/>
              <a:t>10/2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2791394"/>
      </p:ext>
    </p:extLst>
  </p:cSld>
  <p:clrMapOvr>
    <a:masterClrMapping/>
  </p:clrMapOvr>
  <p:transition>
    <p:zoom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" y="3225800"/>
            <a:ext cx="12192000" cy="3632200"/>
          </a:xfrm>
          <a:prstGeom prst="rect">
            <a:avLst/>
          </a:prstGeom>
          <a:gradFill flip="none" rotWithShape="1">
            <a:gsLst>
              <a:gs pos="44000">
                <a:srgbClr val="CBCBCB">
                  <a:alpha val="22000"/>
                </a:srgbClr>
              </a:gs>
              <a:gs pos="100000">
                <a:srgbClr val="5F5F5F">
                  <a:alpha val="19000"/>
                </a:srgbClr>
              </a:gs>
              <a:gs pos="100000">
                <a:srgbClr val="FFFFFF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895"/>
            <a:endParaRPr lang="en-US" sz="2399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4987990"/>
            <a:ext cx="10363200" cy="610820"/>
          </a:xfrm>
        </p:spPr>
        <p:txBody>
          <a:bodyPr/>
          <a:lstStyle>
            <a:lvl1pPr algn="ctr">
              <a:defRPr lang="en-US" sz="3999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5509360"/>
            <a:ext cx="8534401" cy="764440"/>
          </a:xfrm>
        </p:spPr>
        <p:txBody>
          <a:bodyPr>
            <a:normAutofit/>
          </a:bodyPr>
          <a:lstStyle>
            <a:lvl1pPr marL="0" indent="0" algn="ctr">
              <a:buNone/>
              <a:defRPr lang="en-US" sz="2399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6093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7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1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1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5C7161-ED56-4150-9BC8-8A2907E1816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A Brave New World? The Future of Banking in Emerging Europ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66850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130429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4550B7-CC3C-4F3B-ADEA-D38A6369FC6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A Brave New World? The Future of Banking in Emerging Europ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71990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62D2BF-8DD0-4A09-8682-34D9C85B9F6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A Brave New World? The Future of Banking in Emerging Europ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4550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812" y="1442"/>
          <a:ext cx="1809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812" y="1442"/>
                        <a:ext cx="1809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2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220786" y="182088"/>
            <a:ext cx="11758246" cy="661408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2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000000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altLang="de-DE" sz="1000" dirty="0">
              <a:solidFill>
                <a:schemeClr val="tx1"/>
              </a:solidFill>
              <a:latin typeface="Century Gothic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7716" y="215900"/>
            <a:ext cx="8353178" cy="56746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/>
              <a:t>Click here to add your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7716" y="963753"/>
            <a:ext cx="11396569" cy="535139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The first level</a:t>
            </a:r>
          </a:p>
          <a:p>
            <a:pPr lvl="1"/>
            <a:r>
              <a:rPr lang="en-US" noProof="0"/>
              <a:t>The sencond level</a:t>
            </a:r>
          </a:p>
          <a:p>
            <a:pPr lvl="2"/>
            <a:r>
              <a:rPr lang="en-US" noProof="0"/>
              <a:t>The third level</a:t>
            </a:r>
          </a:p>
          <a:p>
            <a:pPr lvl="3"/>
            <a:r>
              <a:rPr lang="en-US" noProof="0"/>
              <a:t>The fourth level</a:t>
            </a:r>
          </a:p>
          <a:p>
            <a:pPr lvl="4"/>
            <a:r>
              <a:rPr lang="en-US" noProof="0"/>
              <a:t>The fifth level</a:t>
            </a:r>
          </a:p>
        </p:txBody>
      </p:sp>
      <p:pic>
        <p:nvPicPr>
          <p:cNvPr id="11" name="Picture 10" descr="RaiffeisenBankInternational_1c_pos_transp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59879" y="249042"/>
            <a:ext cx="3152722" cy="474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Line 8"/>
          <p:cNvSpPr>
            <a:spLocks noChangeShapeType="1"/>
          </p:cNvSpPr>
          <p:nvPr userDrawn="1"/>
        </p:nvSpPr>
        <p:spPr bwMode="auto">
          <a:xfrm>
            <a:off x="220786" y="6435400"/>
            <a:ext cx="11758246" cy="0"/>
          </a:xfrm>
          <a:prstGeom prst="line">
            <a:avLst/>
          </a:prstGeom>
          <a:noFill/>
          <a:ln w="19050">
            <a:solidFill>
              <a:srgbClr val="FFFF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3" name="Rectangle 10"/>
          <p:cNvSpPr txBox="1">
            <a:spLocks noChangeArrowheads="1"/>
          </p:cNvSpPr>
          <p:nvPr userDrawn="1"/>
        </p:nvSpPr>
        <p:spPr>
          <a:xfrm>
            <a:off x="11340265" y="6508751"/>
            <a:ext cx="676031" cy="246063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200" kern="1200">
                <a:solidFill>
                  <a:srgbClr val="000000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200" kern="1200">
                <a:solidFill>
                  <a:srgbClr val="000000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200" kern="1200">
                <a:solidFill>
                  <a:srgbClr val="000000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200" kern="1200">
                <a:solidFill>
                  <a:srgbClr val="000000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80298921-7456-4E95-A003-8C7BAB475DE1}" type="slidenum">
              <a:rPr lang="en-US" sz="800" smtClean="0"/>
              <a:pPr>
                <a:defRPr/>
              </a:pPr>
              <a:t>‹#›</a:t>
            </a:fld>
            <a:endParaRPr lang="en-US" sz="800" dirty="0"/>
          </a:p>
        </p:txBody>
      </p:sp>
      <p:sp>
        <p:nvSpPr>
          <p:cNvPr id="15" name="Text Box 11"/>
          <p:cNvSpPr txBox="1">
            <a:spLocks noChangeArrowheads="1"/>
          </p:cNvSpPr>
          <p:nvPr userDrawn="1"/>
        </p:nvSpPr>
        <p:spPr bwMode="auto">
          <a:xfrm>
            <a:off x="249708" y="6495529"/>
            <a:ext cx="2400300" cy="269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75420" anchor="b"/>
          <a:lstStyle>
            <a:lvl1pPr marL="361950" indent="-361950" algn="l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1pPr>
            <a:lvl2pPr algn="l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2pPr>
            <a:lvl3pPr algn="l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3pPr>
            <a:lvl4pPr algn="l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4pPr>
            <a:lvl5pPr algn="l" eaLnBrk="0" hangingPunct="0">
              <a:spcBef>
                <a:spcPct val="0"/>
              </a:spcBef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5pPr>
            <a:lvl6pPr marL="2187575" indent="9525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6pPr>
            <a:lvl7pPr marL="2644775" indent="9525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7pPr>
            <a:lvl8pPr marL="3101975" indent="9525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8pPr>
            <a:lvl9pPr marL="3559175" indent="95250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bg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Clr>
                <a:srgbClr val="000000"/>
              </a:buClr>
              <a:buSzPct val="80000"/>
              <a:buFont typeface="Wingdings" pitchFamily="2" charset="2"/>
              <a:buNone/>
            </a:pPr>
            <a:r>
              <a:rPr lang="en-US" sz="1000" dirty="0">
                <a:solidFill>
                  <a:srgbClr val="000000"/>
                </a:solidFill>
                <a:latin typeface="Century Gothic" pitchFamily="34" charset="0"/>
              </a:rPr>
              <a:t>RBI Confidential</a:t>
            </a:r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2"/>
          </p:nvPr>
        </p:nvSpPr>
        <p:spPr>
          <a:xfrm>
            <a:off x="4245908" y="644790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  <a:latin typeface="+mn-lt"/>
              </a:defRPr>
            </a:lvl1pPr>
          </a:lstStyle>
          <a:p>
            <a:fld id="{BE27A081-F53F-48B4-82DB-CED7AE54C4B9}" type="datetime1">
              <a:rPr lang="en-US" smtClean="0"/>
              <a:t>10/2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251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6" r:id="rId5"/>
    <p:sldLayoutId id="2147483667" r:id="rId6"/>
  </p:sldLayoutIdLst>
  <p:transition>
    <p:zoom/>
  </p:transition>
  <p:hf hdr="0"/>
  <p:txStyles>
    <p:titleStyle>
      <a:lvl1pPr algn="l" defTabSz="956269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Century Gothic" pitchFamily="34" charset="0"/>
          <a:ea typeface="+mj-ea"/>
          <a:cs typeface="Arial" pitchFamily="34" charset="0"/>
        </a:defRPr>
      </a:lvl1pPr>
    </p:titleStyle>
    <p:bodyStyle>
      <a:lvl1pPr marL="0" indent="0" algn="l" defTabSz="956269" rtl="0" eaLnBrk="1" latinLnBrk="0" hangingPunct="1">
        <a:spcBef>
          <a:spcPts val="1885"/>
        </a:spcBef>
        <a:buFont typeface="Arial" pitchFamily="34" charset="0"/>
        <a:buNone/>
        <a:defRPr sz="2100" b="1" kern="1200" baseline="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0" indent="0" algn="l" defTabSz="956269" rtl="0" eaLnBrk="1" latinLnBrk="0" hangingPunct="1">
        <a:spcBef>
          <a:spcPts val="1885"/>
        </a:spcBef>
        <a:buFont typeface="Wingdings" pitchFamily="2" charset="2"/>
        <a:buNone/>
        <a:defRPr sz="21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185947" indent="-185947" algn="l" defTabSz="956269" rtl="0" eaLnBrk="1" latinLnBrk="0" hangingPunct="1">
        <a:spcBef>
          <a:spcPts val="1885"/>
        </a:spcBef>
        <a:buFont typeface="Wingdings" pitchFamily="2" charset="2"/>
        <a:buChar char="§"/>
        <a:defRPr sz="19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373547" indent="-187611" algn="l" defTabSz="956269" rtl="0" eaLnBrk="1" latinLnBrk="0" hangingPunct="1">
        <a:spcBef>
          <a:spcPts val="1885"/>
        </a:spcBef>
        <a:buFont typeface="Wingdings" pitchFamily="2" charset="2"/>
        <a:buChar char="§"/>
        <a:defRPr sz="19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559487" indent="-185947" algn="l" defTabSz="956269" rtl="0" eaLnBrk="1" latinLnBrk="0" hangingPunct="1">
        <a:spcBef>
          <a:spcPts val="1885"/>
        </a:spcBef>
        <a:buFont typeface="Wingdings" pitchFamily="2" charset="2"/>
        <a:buChar char="§"/>
        <a:defRPr sz="19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747085" indent="-179305" algn="l" defTabSz="956269" rtl="0" eaLnBrk="1" latinLnBrk="0" hangingPunct="1">
        <a:spcBef>
          <a:spcPts val="1885"/>
        </a:spcBef>
        <a:buFont typeface="Wingdings" pitchFamily="2" charset="2"/>
        <a:buChar char="§"/>
        <a:defRPr sz="19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6pPr>
      <a:lvl7pPr marL="936349" indent="-189260" algn="l" defTabSz="956269" rtl="0" eaLnBrk="1" latinLnBrk="0" hangingPunct="1">
        <a:spcBef>
          <a:spcPts val="1885"/>
        </a:spcBef>
        <a:buFont typeface="Wingdings" pitchFamily="2" charset="2"/>
        <a:buChar char="§"/>
        <a:defRPr sz="19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7pPr>
      <a:lvl8pPr marL="1125607" indent="-189260" algn="l" defTabSz="956269" rtl="0" eaLnBrk="1" latinLnBrk="0" hangingPunct="1">
        <a:spcBef>
          <a:spcPts val="1885"/>
        </a:spcBef>
        <a:buFont typeface="Wingdings" pitchFamily="2" charset="2"/>
        <a:buChar char="§"/>
        <a:defRPr sz="19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8pPr>
      <a:lvl9pPr marL="1314868" indent="-189260" algn="l" defTabSz="956269" rtl="0" eaLnBrk="1" latinLnBrk="0" hangingPunct="1">
        <a:spcBef>
          <a:spcPts val="1885"/>
        </a:spcBef>
        <a:buFont typeface="Wingdings" pitchFamily="2" charset="2"/>
        <a:buChar char="§"/>
        <a:defRPr sz="19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5626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139" algn="l" defTabSz="95626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6269" algn="l" defTabSz="95626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4417" algn="l" defTabSz="95626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2534" algn="l" defTabSz="95626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0669" algn="l" defTabSz="95626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68804" algn="l" defTabSz="95626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46934" algn="l" defTabSz="95626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25069" algn="l" defTabSz="95626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100000">
              <a:srgbClr val="EEEEEE"/>
            </a:gs>
            <a:gs pos="67000">
              <a:schemeClr val="bg1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1" cy="711081"/>
          </a:xfrm>
          <a:prstGeom prst="rect">
            <a:avLst/>
          </a:prstGeom>
        </p:spPr>
        <p:txBody>
          <a:bodyPr vert="horz" lIns="91436" tIns="45718" rIns="91436" bIns="45718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138426"/>
            <a:ext cx="10972801" cy="4987739"/>
          </a:xfrm>
          <a:prstGeom prst="rect">
            <a:avLst/>
          </a:prstGeom>
        </p:spPr>
        <p:txBody>
          <a:bodyPr vert="horz" lIns="91436" tIns="45718" rIns="91436" bIns="4571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895"/>
            <a:fld id="{4C6B73FF-DB37-495E-944B-A2300B1EE33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0/2/2019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1" y="6356353"/>
            <a:ext cx="3860800" cy="365125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895"/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A Brave New World? The Future of Banking in Emerging Europe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2" y="6356353"/>
            <a:ext cx="2844800" cy="365125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1218895"/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1218895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0899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</p:sldLayoutIdLst>
  <p:hf hdr="0"/>
  <p:txStyles>
    <p:titleStyle>
      <a:lvl1pPr algn="l" defTabSz="1218845" rtl="0" eaLnBrk="1" latinLnBrk="0" hangingPunct="1">
        <a:spcBef>
          <a:spcPct val="0"/>
        </a:spcBef>
        <a:buNone/>
        <a:defRPr sz="3199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457067" indent="-457067" algn="l" defTabSz="1218845" rtl="0" eaLnBrk="1" latinLnBrk="0" hangingPunct="1">
        <a:spcBef>
          <a:spcPct val="20000"/>
        </a:spcBef>
        <a:buFont typeface="Arial" pitchFamily="34" charset="0"/>
        <a:buChar char="•"/>
        <a:defRPr sz="3599" kern="1200">
          <a:solidFill>
            <a:schemeClr val="tx1"/>
          </a:solidFill>
          <a:latin typeface="+mj-lt"/>
          <a:ea typeface="+mn-ea"/>
          <a:cs typeface="+mn-cs"/>
        </a:defRPr>
      </a:lvl1pPr>
      <a:lvl2pPr marL="990311" indent="-380889" algn="l" defTabSz="1218845" rtl="0" eaLnBrk="1" latinLnBrk="0" hangingPunct="1">
        <a:spcBef>
          <a:spcPct val="20000"/>
        </a:spcBef>
        <a:buFont typeface="Arial" pitchFamily="34" charset="0"/>
        <a:buChar char="–"/>
        <a:defRPr sz="3199" kern="1200">
          <a:solidFill>
            <a:schemeClr val="tx1"/>
          </a:solidFill>
          <a:latin typeface="+mj-lt"/>
          <a:ea typeface="+mn-ea"/>
          <a:cs typeface="+mn-cs"/>
        </a:defRPr>
      </a:lvl2pPr>
      <a:lvl3pPr marL="1523555" indent="-304712" algn="l" defTabSz="1218845" rtl="0" eaLnBrk="1" latinLnBrk="0" hangingPunct="1">
        <a:spcBef>
          <a:spcPct val="20000"/>
        </a:spcBef>
        <a:buFont typeface="Arial" pitchFamily="34" charset="0"/>
        <a:buChar char="•"/>
        <a:defRPr sz="2399" kern="1200">
          <a:solidFill>
            <a:schemeClr val="tx1"/>
          </a:solidFill>
          <a:latin typeface="+mj-lt"/>
          <a:ea typeface="+mn-ea"/>
          <a:cs typeface="+mn-cs"/>
        </a:defRPr>
      </a:lvl3pPr>
      <a:lvl4pPr marL="2132979" indent="-304712" algn="l" defTabSz="1218845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j-lt"/>
          <a:ea typeface="+mn-ea"/>
          <a:cs typeface="+mn-cs"/>
        </a:defRPr>
      </a:lvl4pPr>
      <a:lvl5pPr marL="2742400" indent="-304712" algn="l" defTabSz="1218845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j-lt"/>
          <a:ea typeface="+mn-ea"/>
          <a:cs typeface="+mn-cs"/>
        </a:defRPr>
      </a:lvl5pPr>
      <a:lvl6pPr marL="3351822" indent="-304712" algn="l" defTabSz="1218845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6pPr>
      <a:lvl7pPr marL="3961244" indent="-304712" algn="l" defTabSz="1218845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7pPr>
      <a:lvl8pPr marL="4570666" indent="-304712" algn="l" defTabSz="1218845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8pPr>
      <a:lvl9pPr marL="5180089" indent="-304712" algn="l" defTabSz="1218845" rtl="0" eaLnBrk="1" latinLnBrk="0" hangingPunct="1">
        <a:spcBef>
          <a:spcPct val="20000"/>
        </a:spcBef>
        <a:buFont typeface="Arial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22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45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267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689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111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534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955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378" algn="l" defTabSz="121884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1.xml"/><Relationship Id="rId5" Type="http://schemas.openxmlformats.org/officeDocument/2006/relationships/image" Target="../media/image4.png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0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3.xml"/><Relationship Id="rId7" Type="http://schemas.openxmlformats.org/officeDocument/2006/relationships/image" Target="../media/image5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hyperlink" Target="https://www.google.at/url?sa=i&amp;rct=j&amp;q=&amp;esrc=s&amp;source=images&amp;cd=&amp;cad=rja&amp;uact=8&amp;ved=0ahUKEwjIs5qQxLLSAhUEtBoKHVXWDxQQjRwIBw&amp;url=https://commons.wikimedia.org/wiki/File:Mobile_payment_01.jpg&amp;bvm=bv.148073327,d.d24&amp;psig=AFQjCNGcB2sjG0ZOJ_QoJ69Ryz1mKu28Lw&amp;ust=1488362379525504" TargetMode="External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6.jpg"/><Relationship Id="rId11" Type="http://schemas.openxmlformats.org/officeDocument/2006/relationships/image" Target="../media/image4.png"/><Relationship Id="rId5" Type="http://schemas.openxmlformats.org/officeDocument/2006/relationships/image" Target="../media/image25.jpg"/><Relationship Id="rId10" Type="http://schemas.openxmlformats.org/officeDocument/2006/relationships/image" Target="../media/image30.jpg"/><Relationship Id="rId4" Type="http://schemas.openxmlformats.org/officeDocument/2006/relationships/image" Target="../media/image24.jpeg"/><Relationship Id="rId9" Type="http://schemas.openxmlformats.org/officeDocument/2006/relationships/image" Target="../media/image29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4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3.png"/><Relationship Id="rId5" Type="http://schemas.openxmlformats.org/officeDocument/2006/relationships/image" Target="../media/image12.jpg"/><Relationship Id="rId4" Type="http://schemas.openxmlformats.org/officeDocument/2006/relationships/image" Target="../media/image11.jpeg"/><Relationship Id="rId9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DF0A4F3-4DCF-440A-A76E-74E82FF126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8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DF0A4F3-4DCF-440A-A76E-74E82FF126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04B28AC-F34C-48E8-87A9-A4295C14FA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1" name="object 6">
            <a:extLst>
              <a:ext uri="{FF2B5EF4-FFF2-40B4-BE49-F238E27FC236}">
                <a16:creationId xmlns:a16="http://schemas.microsoft.com/office/drawing/2014/main" id="{B95F2A9B-1DE6-4F00-A22E-982378BE4630}"/>
              </a:ext>
            </a:extLst>
          </p:cNvPr>
          <p:cNvSpPr txBox="1"/>
          <p:nvPr/>
        </p:nvSpPr>
        <p:spPr>
          <a:xfrm>
            <a:off x="1496291" y="1864828"/>
            <a:ext cx="9938327" cy="137962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" algn="ctr">
              <a:lnSpc>
                <a:spcPct val="100000"/>
              </a:lnSpc>
            </a:pPr>
            <a:r>
              <a:rPr lang="en-US" sz="4400" b="1" dirty="0">
                <a:solidFill>
                  <a:schemeClr val="bg1">
                    <a:lumMod val="50000"/>
                  </a:schemeClr>
                </a:solidFill>
                <a:latin typeface="Futura" panose="020B0604020202020204"/>
                <a:cs typeface="Calibri"/>
              </a:rPr>
              <a:t>New Trends in Banking</a:t>
            </a:r>
            <a:endParaRPr sz="4400" dirty="0">
              <a:solidFill>
                <a:schemeClr val="bg1">
                  <a:lumMod val="50000"/>
                </a:schemeClr>
              </a:solidFill>
              <a:latin typeface="Futura" panose="020B0604020202020204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40"/>
              </a:spcBef>
            </a:pPr>
            <a:r>
              <a:rPr lang="en-US" sz="4400" b="1" i="1" spc="0" dirty="0">
                <a:solidFill>
                  <a:schemeClr val="bg1">
                    <a:lumMod val="50000"/>
                  </a:schemeClr>
                </a:solidFill>
                <a:latin typeface="Futura" panose="020B0604020202020204"/>
                <a:cs typeface="Calibri"/>
              </a:rPr>
              <a:t>What</a:t>
            </a:r>
            <a:r>
              <a:rPr lang="en-US" sz="4400" b="1" i="1" dirty="0">
                <a:solidFill>
                  <a:schemeClr val="bg1">
                    <a:lumMod val="50000"/>
                  </a:schemeClr>
                </a:solidFill>
                <a:latin typeface="Futura" panose="020B0604020202020204"/>
                <a:cs typeface="Calibri"/>
              </a:rPr>
              <a:t>’s in store for Albania?</a:t>
            </a:r>
            <a:endParaRPr sz="4400" dirty="0">
              <a:solidFill>
                <a:schemeClr val="bg1">
                  <a:lumMod val="50000"/>
                </a:schemeClr>
              </a:solidFill>
              <a:latin typeface="Futura" panose="020B0604020202020204"/>
              <a:cs typeface="Calibri"/>
            </a:endParaRPr>
          </a:p>
        </p:txBody>
      </p:sp>
      <p:sp>
        <p:nvSpPr>
          <p:cNvPr id="13" name="object 8">
            <a:extLst>
              <a:ext uri="{FF2B5EF4-FFF2-40B4-BE49-F238E27FC236}">
                <a16:creationId xmlns:a16="http://schemas.microsoft.com/office/drawing/2014/main" id="{D3E581CD-0AD7-477D-977E-2DC6CD4785A9}"/>
              </a:ext>
            </a:extLst>
          </p:cNvPr>
          <p:cNvSpPr txBox="1"/>
          <p:nvPr/>
        </p:nvSpPr>
        <p:spPr>
          <a:xfrm>
            <a:off x="7661194" y="4191437"/>
            <a:ext cx="2646588" cy="60896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marR="12700" indent="457200" algn="r">
              <a:lnSpc>
                <a:spcPct val="120100"/>
              </a:lnSpc>
            </a:pPr>
            <a:r>
              <a:rPr lang="en-US" sz="1600" spc="-10" dirty="0">
                <a:solidFill>
                  <a:srgbClr val="404040"/>
                </a:solidFill>
                <a:latin typeface="Calibri"/>
                <a:cs typeface="Calibri"/>
              </a:rPr>
              <a:t>Heinz Wiedner</a:t>
            </a:r>
          </a:p>
          <a:p>
            <a:pPr marL="12700" marR="12700" indent="457200" algn="r">
              <a:lnSpc>
                <a:spcPct val="120100"/>
              </a:lnSpc>
            </a:pPr>
            <a:r>
              <a:rPr lang="en-US" sz="1600" spc="-10" dirty="0">
                <a:solidFill>
                  <a:srgbClr val="404040"/>
                </a:solidFill>
                <a:latin typeface="Calibri"/>
                <a:cs typeface="Calibri"/>
              </a:rPr>
              <a:t>Tirana</a:t>
            </a:r>
            <a:r>
              <a:rPr sz="1600" spc="-10" dirty="0">
                <a:solidFill>
                  <a:srgbClr val="404040"/>
                </a:solidFill>
                <a:latin typeface="Calibri"/>
                <a:cs typeface="Calibri"/>
              </a:rPr>
              <a:t>,</a:t>
            </a:r>
            <a:r>
              <a:rPr sz="1600" spc="15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lang="en-US" sz="1600" spc="-10" dirty="0">
                <a:solidFill>
                  <a:srgbClr val="404040"/>
                </a:solidFill>
                <a:latin typeface="Calibri"/>
                <a:cs typeface="Calibri"/>
              </a:rPr>
              <a:t>October 11</a:t>
            </a:r>
            <a:r>
              <a:rPr lang="en-US" sz="1600" spc="-10" baseline="30000" dirty="0">
                <a:solidFill>
                  <a:srgbClr val="404040"/>
                </a:solidFill>
                <a:latin typeface="Calibri"/>
                <a:cs typeface="Calibri"/>
              </a:rPr>
              <a:t>th</a:t>
            </a:r>
            <a:r>
              <a:rPr lang="en-US" sz="1600" spc="-10" dirty="0">
                <a:solidFill>
                  <a:srgbClr val="404040"/>
                </a:solidFill>
                <a:latin typeface="Calibri"/>
                <a:cs typeface="Calibri"/>
              </a:rPr>
              <a:t> </a:t>
            </a:r>
            <a:r>
              <a:rPr sz="1600" spc="-20" dirty="0">
                <a:solidFill>
                  <a:srgbClr val="404040"/>
                </a:solidFill>
                <a:latin typeface="Calibri"/>
                <a:cs typeface="Calibri"/>
              </a:rPr>
              <a:t>201</a:t>
            </a:r>
            <a:r>
              <a:rPr lang="en-US" sz="1600" spc="-20" dirty="0">
                <a:solidFill>
                  <a:srgbClr val="404040"/>
                </a:solidFill>
                <a:latin typeface="Calibri"/>
                <a:cs typeface="Calibri"/>
              </a:rPr>
              <a:t>9</a:t>
            </a:r>
            <a:endParaRPr sz="1600" dirty="0">
              <a:latin typeface="Calibri"/>
              <a:cs typeface="Calibri"/>
            </a:endParaRPr>
          </a:p>
        </p:txBody>
      </p:sp>
      <p:sp>
        <p:nvSpPr>
          <p:cNvPr id="17" name="object 2">
            <a:extLst>
              <a:ext uri="{FF2B5EF4-FFF2-40B4-BE49-F238E27FC236}">
                <a16:creationId xmlns:a16="http://schemas.microsoft.com/office/drawing/2014/main" id="{07667857-ADC2-4083-A0C6-0BFBFE6E9CBD}"/>
              </a:ext>
            </a:extLst>
          </p:cNvPr>
          <p:cNvSpPr/>
          <p:nvPr/>
        </p:nvSpPr>
        <p:spPr>
          <a:xfrm flipV="1">
            <a:off x="6280139" y="3923471"/>
            <a:ext cx="4027643" cy="143360"/>
          </a:xfrm>
          <a:custGeom>
            <a:avLst/>
            <a:gdLst/>
            <a:ahLst/>
            <a:cxnLst/>
            <a:rect l="l" t="t" r="r" b="b"/>
            <a:pathLst>
              <a:path w="8626474">
                <a:moveTo>
                  <a:pt x="0" y="0"/>
                </a:moveTo>
                <a:lnTo>
                  <a:pt x="8626474" y="0"/>
                </a:lnTo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AA888262-66C8-4D07-9DAD-C712D9376F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255" y="6287314"/>
            <a:ext cx="3860800" cy="365125"/>
          </a:xfrm>
        </p:spPr>
        <p:txBody>
          <a:bodyPr/>
          <a:lstStyle/>
          <a:p>
            <a:pPr algn="l"/>
            <a:r>
              <a:rPr lang="en-US" sz="800" dirty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A Brave New World? The Future of Banking in Emerging Europe </a:t>
            </a: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0A484C32-E1ED-46AB-BF85-F66F386A9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z="800" smtClean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pPr/>
              <a:t>1</a:t>
            </a:fld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89C0155-7486-4E3C-8B06-B6E9AFBA9E9A}"/>
              </a:ext>
            </a:extLst>
          </p:cNvPr>
          <p:cNvSpPr/>
          <p:nvPr/>
        </p:nvSpPr>
        <p:spPr bwMode="auto">
          <a:xfrm>
            <a:off x="709900" y="2516139"/>
            <a:ext cx="11038408" cy="119348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entury Gothic" pitchFamily="34" charset="0"/>
              <a:cs typeface="Arial" charset="0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10573046" y="0"/>
            <a:ext cx="1597721" cy="1615209"/>
            <a:chOff x="10594279" y="-15009"/>
            <a:chExt cx="1597721" cy="1615209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2F1FD8C-26EA-47D2-8404-588BA4BBACEB}"/>
                </a:ext>
              </a:extLst>
            </p:cNvPr>
            <p:cNvGrpSpPr/>
            <p:nvPr/>
          </p:nvGrpSpPr>
          <p:grpSpPr>
            <a:xfrm>
              <a:off x="10594279" y="-15009"/>
              <a:ext cx="1597721" cy="1615209"/>
              <a:chOff x="10594279" y="-15009"/>
              <a:chExt cx="1597721" cy="1615209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36AD23A3-DE25-4538-8AC8-0E51F1E0581F}"/>
                  </a:ext>
                </a:extLst>
              </p:cNvPr>
              <p:cNvGrpSpPr/>
              <p:nvPr/>
            </p:nvGrpSpPr>
            <p:grpSpPr>
              <a:xfrm>
                <a:off x="10594279" y="-15009"/>
                <a:ext cx="1597721" cy="1615209"/>
                <a:chOff x="10594279" y="-15009"/>
                <a:chExt cx="1597721" cy="1615209"/>
              </a:xfrm>
            </p:grpSpPr>
            <p:sp>
              <p:nvSpPr>
                <p:cNvPr id="29" name="Right Triangle 28">
                  <a:extLst>
                    <a:ext uri="{FF2B5EF4-FFF2-40B4-BE49-F238E27FC236}">
                      <a16:creationId xmlns:a16="http://schemas.microsoft.com/office/drawing/2014/main" id="{0A03C037-AD20-47EE-8BE5-895488674BF0}"/>
                    </a:ext>
                  </a:extLst>
                </p:cNvPr>
                <p:cNvSpPr/>
                <p:nvPr/>
              </p:nvSpPr>
              <p:spPr bwMode="auto">
                <a:xfrm>
                  <a:off x="10594279" y="-15009"/>
                  <a:ext cx="1597660" cy="1600200"/>
                </a:xfrm>
                <a:prstGeom prst="rtTriangle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  <p:sp>
              <p:nvSpPr>
                <p:cNvPr id="30" name="Right Triangle 29">
                  <a:extLst>
                    <a:ext uri="{FF2B5EF4-FFF2-40B4-BE49-F238E27FC236}">
                      <a16:creationId xmlns:a16="http://schemas.microsoft.com/office/drawing/2014/main" id="{49F901B3-2A93-4ED2-A00E-BF69FF78C77C}"/>
                    </a:ext>
                  </a:extLst>
                </p:cNvPr>
                <p:cNvSpPr/>
                <p:nvPr/>
              </p:nvSpPr>
              <p:spPr bwMode="auto">
                <a:xfrm rot="10800000">
                  <a:off x="10594340" y="0"/>
                  <a:ext cx="1597660" cy="1600200"/>
                </a:xfrm>
                <a:prstGeom prst="rtTriangl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</p:grpSp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EDE04F49-697D-409B-BB11-F88A15AD54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3748"/>
              <a:stretch/>
            </p:blipFill>
            <p:spPr>
              <a:xfrm>
                <a:off x="11454726" y="301037"/>
                <a:ext cx="394374" cy="386940"/>
              </a:xfrm>
              <a:prstGeom prst="rect">
                <a:avLst/>
              </a:prstGeom>
            </p:spPr>
          </p:pic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F2355C5-7A7B-455B-A50F-FE6F7A77BAE4}"/>
                </a:ext>
              </a:extLst>
            </p:cNvPr>
            <p:cNvSpPr/>
            <p:nvPr/>
          </p:nvSpPr>
          <p:spPr bwMode="auto">
            <a:xfrm>
              <a:off x="11393109" y="261649"/>
              <a:ext cx="575745" cy="46571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entury Gothic" pitchFamily="34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94915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165CC22-03E5-44D4-AF90-0B9B575ACD04}"/>
              </a:ext>
            </a:extLst>
          </p:cNvPr>
          <p:cNvGraphicFramePr>
            <a:graphicFrameLocks noGrp="1"/>
          </p:cNvGraphicFramePr>
          <p:nvPr/>
        </p:nvGraphicFramePr>
        <p:xfrm>
          <a:off x="12656" y="-15009"/>
          <a:ext cx="12192000" cy="6858000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548289">
                  <a:extLst>
                    <a:ext uri="{9D8B030D-6E8A-4147-A177-3AD203B41FA5}">
                      <a16:colId xmlns:a16="http://schemas.microsoft.com/office/drawing/2014/main" val="1225932609"/>
                    </a:ext>
                  </a:extLst>
                </a:gridCol>
                <a:gridCol w="10643711">
                  <a:extLst>
                    <a:ext uri="{9D8B030D-6E8A-4147-A177-3AD203B41FA5}">
                      <a16:colId xmlns:a16="http://schemas.microsoft.com/office/drawing/2014/main" val="165969625"/>
                    </a:ext>
                  </a:extLst>
                </a:gridCol>
              </a:tblGrid>
              <a:tr h="685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4000" b="1" i="0" kern="1200" dirty="0">
                        <a:solidFill>
                          <a:schemeClr val="dk1"/>
                        </a:solidFill>
                        <a:latin typeface="Futura CE Book" panose="02000504030000020003" pitchFamily="2" charset="0"/>
                        <a:ea typeface="+mn-ea"/>
                        <a:cs typeface="+mn-cs"/>
                      </a:endParaRPr>
                    </a:p>
                  </a:txBody>
                  <a:tcPr vert="vert27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1371600" marR="0" lvl="3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de-AT" sz="1600" i="0" dirty="0">
                        <a:latin typeface="Futura CE Book" panose="02000504030000020003" pitchFamily="2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486999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7ECF4C5-B426-4B1B-9651-B5399180F612}"/>
              </a:ext>
            </a:extLst>
          </p:cNvPr>
          <p:cNvSpPr/>
          <p:nvPr/>
        </p:nvSpPr>
        <p:spPr>
          <a:xfrm rot="16200000">
            <a:off x="-2136630" y="3050782"/>
            <a:ext cx="5949064" cy="72641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50000"/>
              </a:lnSpc>
              <a:defRPr/>
            </a:pPr>
            <a:r>
              <a:rPr lang="en-US" sz="3000" dirty="0">
                <a:solidFill>
                  <a:schemeClr val="dk1"/>
                </a:solidFill>
                <a:latin typeface="Futura CE Book" panose="02000504030000020003" pitchFamily="2" charset="0"/>
              </a:rPr>
              <a:t>Increased regulation affects banks returns</a:t>
            </a:r>
          </a:p>
        </p:txBody>
      </p:sp>
      <p:sp>
        <p:nvSpPr>
          <p:cNvPr id="23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>
            <a:off x="166255" y="6367324"/>
            <a:ext cx="3860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A Brave New World? The Future of Banking in Emerging Europe </a:t>
            </a:r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24" name="Slide Number Placeholder 19">
            <a:extLst>
              <a:ext uri="{FF2B5EF4-FFF2-40B4-BE49-F238E27FC236}">
                <a16:creationId xmlns:a16="http://schemas.microsoft.com/office/drawing/2014/main" id="{EE238113-639A-48D7-A13F-6F830A20D66C}"/>
              </a:ext>
            </a:extLst>
          </p:cNvPr>
          <p:cNvSpPr txBox="1">
            <a:spLocks/>
          </p:cNvSpPr>
          <p:nvPr/>
        </p:nvSpPr>
        <p:spPr>
          <a:xfrm>
            <a:off x="8737602" y="6356353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939B1FA-81F2-4940-9AF3-5EAFB5D6669B}" type="slidenum">
              <a:rPr lang="en-US" sz="800" smtClean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pPr algn="r"/>
              <a:t>10</a:t>
            </a:fld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id="{27B37E1D-FCD7-48CE-A647-BF2E1392071C}"/>
              </a:ext>
            </a:extLst>
          </p:cNvPr>
          <p:cNvSpPr txBox="1"/>
          <p:nvPr/>
        </p:nvSpPr>
        <p:spPr>
          <a:xfrm>
            <a:off x="1949658" y="499188"/>
            <a:ext cx="8623327" cy="115244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519">
              <a:lnSpc>
                <a:spcPct val="150000"/>
              </a:lnSpc>
            </a:pPr>
            <a:r>
              <a:rPr lang="en-US" sz="2600" dirty="0"/>
              <a:t>On average, from 2012 to 2017, banking valuations have lagged all other industries</a:t>
            </a:r>
            <a:endParaRPr lang="en-US" sz="2600" b="1" dirty="0">
              <a:solidFill>
                <a:schemeClr val="bg1">
                  <a:lumMod val="50000"/>
                </a:schemeClr>
              </a:solidFill>
              <a:latin typeface="Futura CE Book" panose="02000504030000020003" pitchFamily="2" charset="0"/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C1ABFB-D037-41C9-85D5-7FAE06753ACF}"/>
              </a:ext>
            </a:extLst>
          </p:cNvPr>
          <p:cNvSpPr/>
          <p:nvPr/>
        </p:nvSpPr>
        <p:spPr bwMode="auto">
          <a:xfrm>
            <a:off x="1642101" y="1721687"/>
            <a:ext cx="10353017" cy="140161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entury Gothic" pitchFamily="34" charset="0"/>
              <a:cs typeface="Arial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2101" y="2167052"/>
            <a:ext cx="10353017" cy="3606101"/>
          </a:xfrm>
          <a:prstGeom prst="rect">
            <a:avLst/>
          </a:prstGeom>
        </p:spPr>
      </p:pic>
      <p:sp>
        <p:nvSpPr>
          <p:cNvPr id="152" name="TextBox 151">
            <a:extLst>
              <a:ext uri="{FF2B5EF4-FFF2-40B4-BE49-F238E27FC236}">
                <a16:creationId xmlns:a16="http://schemas.microsoft.com/office/drawing/2014/main" id="{A09C454C-C705-444E-9D6E-AC555D59191B}"/>
              </a:ext>
            </a:extLst>
          </p:cNvPr>
          <p:cNvSpPr txBox="1">
            <a:spLocks/>
          </p:cNvSpPr>
          <p:nvPr/>
        </p:nvSpPr>
        <p:spPr>
          <a:xfrm>
            <a:off x="1706120" y="1931907"/>
            <a:ext cx="5112489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ROE (%) vs P/B by industry, global (average from 2012-17)</a:t>
            </a:r>
            <a:endParaRPr lang="en-US" sz="14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53" name="4. Footnote">
            <a:extLst>
              <a:ext uri="{FF2B5EF4-FFF2-40B4-BE49-F238E27FC236}">
                <a16:creationId xmlns:a16="http://schemas.microsoft.com/office/drawing/2014/main" id="{3921394E-F20F-4DE4-BDAD-CA9E0C820B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06120" y="5738502"/>
            <a:ext cx="1139875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104775" indent="-104775" defTabSz="895350">
              <a:defRPr sz="800" baseline="0">
                <a:solidFill>
                  <a:schemeClr val="accent6"/>
                </a:solidFill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85725" indent="-85725"/>
            <a:r>
              <a:rPr lang="en-US" dirty="0"/>
              <a:t>1 Other financials includes insurance, asset managers, private equity, real estate, payments processing companies, networks and multisector holding companies</a:t>
            </a:r>
          </a:p>
          <a:p>
            <a:pPr marL="85725" indent="-85725"/>
            <a:r>
              <a:rPr lang="en-US" dirty="0"/>
              <a:t>2 Based on a sample of ~1,000 largest banks globally  in terms of assets</a:t>
            </a:r>
          </a:p>
        </p:txBody>
      </p:sp>
      <p:sp>
        <p:nvSpPr>
          <p:cNvPr id="154" name="5. Source">
            <a:extLst>
              <a:ext uri="{FF2B5EF4-FFF2-40B4-BE49-F238E27FC236}">
                <a16:creationId xmlns:a16="http://schemas.microsoft.com/office/drawing/2014/main" id="{0BA3D509-8148-4F1C-998D-D905911F302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629395" y="6085218"/>
            <a:ext cx="9953007" cy="215444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r>
              <a:rPr lang="en-US" sz="800" dirty="0"/>
              <a:t>SOURCE: S&amp;P Global Market Intelligence, McKinsey Panorama</a:t>
            </a:r>
          </a:p>
        </p:txBody>
      </p:sp>
      <p:grpSp>
        <p:nvGrpSpPr>
          <p:cNvPr id="155" name="Group 154"/>
          <p:cNvGrpSpPr/>
          <p:nvPr/>
        </p:nvGrpSpPr>
        <p:grpSpPr>
          <a:xfrm>
            <a:off x="10573046" y="0"/>
            <a:ext cx="1597721" cy="1615209"/>
            <a:chOff x="10594279" y="-15009"/>
            <a:chExt cx="1597721" cy="1615209"/>
          </a:xfrm>
        </p:grpSpPr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B2F1FD8C-26EA-47D2-8404-588BA4BBACEB}"/>
                </a:ext>
              </a:extLst>
            </p:cNvPr>
            <p:cNvGrpSpPr/>
            <p:nvPr/>
          </p:nvGrpSpPr>
          <p:grpSpPr>
            <a:xfrm>
              <a:off x="10594279" y="-15009"/>
              <a:ext cx="1597721" cy="1615209"/>
              <a:chOff x="10594279" y="-15009"/>
              <a:chExt cx="1597721" cy="1615209"/>
            </a:xfrm>
          </p:grpSpPr>
          <p:grpSp>
            <p:nvGrpSpPr>
              <p:cNvPr id="158" name="Group 157">
                <a:extLst>
                  <a:ext uri="{FF2B5EF4-FFF2-40B4-BE49-F238E27FC236}">
                    <a16:creationId xmlns:a16="http://schemas.microsoft.com/office/drawing/2014/main" id="{36AD23A3-DE25-4538-8AC8-0E51F1E0581F}"/>
                  </a:ext>
                </a:extLst>
              </p:cNvPr>
              <p:cNvGrpSpPr/>
              <p:nvPr/>
            </p:nvGrpSpPr>
            <p:grpSpPr>
              <a:xfrm>
                <a:off x="10594279" y="-15009"/>
                <a:ext cx="1597721" cy="1615209"/>
                <a:chOff x="10594279" y="-15009"/>
                <a:chExt cx="1597721" cy="1615209"/>
              </a:xfrm>
            </p:grpSpPr>
            <p:sp>
              <p:nvSpPr>
                <p:cNvPr id="160" name="Right Triangle 159">
                  <a:extLst>
                    <a:ext uri="{FF2B5EF4-FFF2-40B4-BE49-F238E27FC236}">
                      <a16:creationId xmlns:a16="http://schemas.microsoft.com/office/drawing/2014/main" id="{0A03C037-AD20-47EE-8BE5-895488674BF0}"/>
                    </a:ext>
                  </a:extLst>
                </p:cNvPr>
                <p:cNvSpPr/>
                <p:nvPr/>
              </p:nvSpPr>
              <p:spPr bwMode="auto">
                <a:xfrm>
                  <a:off x="10594279" y="-15009"/>
                  <a:ext cx="1597660" cy="1600200"/>
                </a:xfrm>
                <a:prstGeom prst="rtTriangle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  <p:sp>
              <p:nvSpPr>
                <p:cNvPr id="161" name="Right Triangle 160">
                  <a:extLst>
                    <a:ext uri="{FF2B5EF4-FFF2-40B4-BE49-F238E27FC236}">
                      <a16:creationId xmlns:a16="http://schemas.microsoft.com/office/drawing/2014/main" id="{49F901B3-2A93-4ED2-A00E-BF69FF78C77C}"/>
                    </a:ext>
                  </a:extLst>
                </p:cNvPr>
                <p:cNvSpPr/>
                <p:nvPr/>
              </p:nvSpPr>
              <p:spPr bwMode="auto">
                <a:xfrm rot="10800000">
                  <a:off x="10594340" y="0"/>
                  <a:ext cx="1597660" cy="1600200"/>
                </a:xfrm>
                <a:prstGeom prst="rtTriangl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</p:grpSp>
          <p:pic>
            <p:nvPicPr>
              <p:cNvPr id="159" name="Picture 158">
                <a:extLst>
                  <a:ext uri="{FF2B5EF4-FFF2-40B4-BE49-F238E27FC236}">
                    <a16:creationId xmlns:a16="http://schemas.microsoft.com/office/drawing/2014/main" id="{EDE04F49-697D-409B-BB11-F88A15AD54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3748"/>
              <a:stretch/>
            </p:blipFill>
            <p:spPr>
              <a:xfrm>
                <a:off x="11454726" y="301037"/>
                <a:ext cx="394374" cy="386940"/>
              </a:xfrm>
              <a:prstGeom prst="rect">
                <a:avLst/>
              </a:prstGeom>
            </p:spPr>
          </p:pic>
        </p:grp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7F2355C5-7A7B-455B-A50F-FE6F7A77BAE4}"/>
                </a:ext>
              </a:extLst>
            </p:cNvPr>
            <p:cNvSpPr/>
            <p:nvPr/>
          </p:nvSpPr>
          <p:spPr bwMode="auto">
            <a:xfrm>
              <a:off x="11393109" y="261649"/>
              <a:ext cx="575745" cy="46571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entury Gothic" pitchFamily="34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43508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165CC22-03E5-44D4-AF90-0B9B575ACD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2445491"/>
              </p:ext>
            </p:extLst>
          </p:nvPr>
        </p:nvGraphicFramePr>
        <p:xfrm>
          <a:off x="12656" y="-15009"/>
          <a:ext cx="12192000" cy="6858000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548289">
                  <a:extLst>
                    <a:ext uri="{9D8B030D-6E8A-4147-A177-3AD203B41FA5}">
                      <a16:colId xmlns:a16="http://schemas.microsoft.com/office/drawing/2014/main" val="1225932609"/>
                    </a:ext>
                  </a:extLst>
                </a:gridCol>
                <a:gridCol w="10643711">
                  <a:extLst>
                    <a:ext uri="{9D8B030D-6E8A-4147-A177-3AD203B41FA5}">
                      <a16:colId xmlns:a16="http://schemas.microsoft.com/office/drawing/2014/main" val="165969625"/>
                    </a:ext>
                  </a:extLst>
                </a:gridCol>
              </a:tblGrid>
              <a:tr h="685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4000" b="1" i="0" kern="1200" dirty="0">
                        <a:solidFill>
                          <a:schemeClr val="dk1"/>
                        </a:solidFill>
                        <a:latin typeface="Futura CE Book" panose="02000504030000020003" pitchFamily="2" charset="0"/>
                        <a:ea typeface="+mn-ea"/>
                        <a:cs typeface="+mn-cs"/>
                      </a:endParaRPr>
                    </a:p>
                  </a:txBody>
                  <a:tcPr vert="vert27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1371600" marR="0" lvl="3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de-AT" sz="1600" i="0" dirty="0">
                        <a:latin typeface="Futura CE Book" panose="02000504030000020003" pitchFamily="2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486999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7ECF4C5-B426-4B1B-9651-B5399180F612}"/>
              </a:ext>
            </a:extLst>
          </p:cNvPr>
          <p:cNvSpPr/>
          <p:nvPr/>
        </p:nvSpPr>
        <p:spPr>
          <a:xfrm rot="16200000">
            <a:off x="-1666211" y="3029623"/>
            <a:ext cx="5008230" cy="7687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50000"/>
              </a:lnSpc>
              <a:defRPr/>
            </a:pPr>
            <a:r>
              <a:rPr lang="en-US" sz="3200" dirty="0">
                <a:solidFill>
                  <a:schemeClr val="dk1"/>
                </a:solidFill>
                <a:latin typeface="Futura CE Book" panose="02000504030000020003" pitchFamily="2" charset="0"/>
              </a:rPr>
              <a:t>Emergence of Crypto currencies</a:t>
            </a:r>
          </a:p>
        </p:txBody>
      </p:sp>
      <p:sp>
        <p:nvSpPr>
          <p:cNvPr id="23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>
            <a:off x="166255" y="6367324"/>
            <a:ext cx="3860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A Brave New World? The Future of Banking in Emerging Europe </a:t>
            </a:r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24" name="Slide Number Placeholder 19">
            <a:extLst>
              <a:ext uri="{FF2B5EF4-FFF2-40B4-BE49-F238E27FC236}">
                <a16:creationId xmlns:a16="http://schemas.microsoft.com/office/drawing/2014/main" id="{EE238113-639A-48D7-A13F-6F830A20D66C}"/>
              </a:ext>
            </a:extLst>
          </p:cNvPr>
          <p:cNvSpPr txBox="1">
            <a:spLocks/>
          </p:cNvSpPr>
          <p:nvPr/>
        </p:nvSpPr>
        <p:spPr>
          <a:xfrm>
            <a:off x="8737602" y="6356353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939B1FA-81F2-4940-9AF3-5EAFB5D6669B}" type="slidenum">
              <a:rPr lang="en-US" sz="800" smtClean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pPr algn="r"/>
              <a:t>11</a:t>
            </a:fld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C1ABFB-D037-41C9-85D5-7FAE06753ACF}"/>
              </a:ext>
            </a:extLst>
          </p:cNvPr>
          <p:cNvSpPr/>
          <p:nvPr/>
        </p:nvSpPr>
        <p:spPr bwMode="auto">
          <a:xfrm>
            <a:off x="1642101" y="1721687"/>
            <a:ext cx="10353017" cy="140161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entury Gothic" pitchFamily="34" charset="0"/>
              <a:cs typeface="Arial" charset="0"/>
            </a:endParaRPr>
          </a:p>
        </p:txBody>
      </p:sp>
      <p:grpSp>
        <p:nvGrpSpPr>
          <p:cNvPr id="155" name="Group 154"/>
          <p:cNvGrpSpPr/>
          <p:nvPr/>
        </p:nvGrpSpPr>
        <p:grpSpPr>
          <a:xfrm>
            <a:off x="10573046" y="0"/>
            <a:ext cx="1597721" cy="1615209"/>
            <a:chOff x="10594279" y="-15009"/>
            <a:chExt cx="1597721" cy="1615209"/>
          </a:xfrm>
        </p:grpSpPr>
        <p:grpSp>
          <p:nvGrpSpPr>
            <p:cNvPr id="156" name="Group 155">
              <a:extLst>
                <a:ext uri="{FF2B5EF4-FFF2-40B4-BE49-F238E27FC236}">
                  <a16:creationId xmlns:a16="http://schemas.microsoft.com/office/drawing/2014/main" id="{B2F1FD8C-26EA-47D2-8404-588BA4BBACEB}"/>
                </a:ext>
              </a:extLst>
            </p:cNvPr>
            <p:cNvGrpSpPr/>
            <p:nvPr/>
          </p:nvGrpSpPr>
          <p:grpSpPr>
            <a:xfrm>
              <a:off x="10594279" y="-15009"/>
              <a:ext cx="1597721" cy="1615209"/>
              <a:chOff x="10594279" y="-15009"/>
              <a:chExt cx="1597721" cy="1615209"/>
            </a:xfrm>
          </p:grpSpPr>
          <p:grpSp>
            <p:nvGrpSpPr>
              <p:cNvPr id="158" name="Group 157">
                <a:extLst>
                  <a:ext uri="{FF2B5EF4-FFF2-40B4-BE49-F238E27FC236}">
                    <a16:creationId xmlns:a16="http://schemas.microsoft.com/office/drawing/2014/main" id="{36AD23A3-DE25-4538-8AC8-0E51F1E0581F}"/>
                  </a:ext>
                </a:extLst>
              </p:cNvPr>
              <p:cNvGrpSpPr/>
              <p:nvPr/>
            </p:nvGrpSpPr>
            <p:grpSpPr>
              <a:xfrm>
                <a:off x="10594279" y="-15009"/>
                <a:ext cx="1597721" cy="1615209"/>
                <a:chOff x="10594279" y="-15009"/>
                <a:chExt cx="1597721" cy="1615209"/>
              </a:xfrm>
            </p:grpSpPr>
            <p:sp>
              <p:nvSpPr>
                <p:cNvPr id="160" name="Right Triangle 159">
                  <a:extLst>
                    <a:ext uri="{FF2B5EF4-FFF2-40B4-BE49-F238E27FC236}">
                      <a16:creationId xmlns:a16="http://schemas.microsoft.com/office/drawing/2014/main" id="{0A03C037-AD20-47EE-8BE5-895488674BF0}"/>
                    </a:ext>
                  </a:extLst>
                </p:cNvPr>
                <p:cNvSpPr/>
                <p:nvPr/>
              </p:nvSpPr>
              <p:spPr bwMode="auto">
                <a:xfrm>
                  <a:off x="10594279" y="-15009"/>
                  <a:ext cx="1597660" cy="1600200"/>
                </a:xfrm>
                <a:prstGeom prst="rtTriangle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  <p:sp>
              <p:nvSpPr>
                <p:cNvPr id="161" name="Right Triangle 160">
                  <a:extLst>
                    <a:ext uri="{FF2B5EF4-FFF2-40B4-BE49-F238E27FC236}">
                      <a16:creationId xmlns:a16="http://schemas.microsoft.com/office/drawing/2014/main" id="{49F901B3-2A93-4ED2-A00E-BF69FF78C77C}"/>
                    </a:ext>
                  </a:extLst>
                </p:cNvPr>
                <p:cNvSpPr/>
                <p:nvPr/>
              </p:nvSpPr>
              <p:spPr bwMode="auto">
                <a:xfrm rot="10800000">
                  <a:off x="10594340" y="0"/>
                  <a:ext cx="1597660" cy="1600200"/>
                </a:xfrm>
                <a:prstGeom prst="rtTriangl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</p:grpSp>
          <p:pic>
            <p:nvPicPr>
              <p:cNvPr id="159" name="Picture 158">
                <a:extLst>
                  <a:ext uri="{FF2B5EF4-FFF2-40B4-BE49-F238E27FC236}">
                    <a16:creationId xmlns:a16="http://schemas.microsoft.com/office/drawing/2014/main" id="{EDE04F49-697D-409B-BB11-F88A15AD54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3748"/>
              <a:stretch/>
            </p:blipFill>
            <p:spPr>
              <a:xfrm>
                <a:off x="11454726" y="301037"/>
                <a:ext cx="394374" cy="386940"/>
              </a:xfrm>
              <a:prstGeom prst="rect">
                <a:avLst/>
              </a:prstGeom>
            </p:spPr>
          </p:pic>
        </p:grpSp>
        <p:sp>
          <p:nvSpPr>
            <p:cNvPr id="157" name="Rectangle 156">
              <a:extLst>
                <a:ext uri="{FF2B5EF4-FFF2-40B4-BE49-F238E27FC236}">
                  <a16:creationId xmlns:a16="http://schemas.microsoft.com/office/drawing/2014/main" id="{7F2355C5-7A7B-455B-A50F-FE6F7A77BAE4}"/>
                </a:ext>
              </a:extLst>
            </p:cNvPr>
            <p:cNvSpPr/>
            <p:nvPr/>
          </p:nvSpPr>
          <p:spPr bwMode="auto">
            <a:xfrm>
              <a:off x="11393109" y="261649"/>
              <a:ext cx="575745" cy="46571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entury Gothic" pitchFamily="34" charset="0"/>
                <a:cs typeface="Arial" charset="0"/>
              </a:endParaRPr>
            </a:p>
          </p:txBody>
        </p:sp>
      </p:grpSp>
      <p:sp>
        <p:nvSpPr>
          <p:cNvPr id="15" name="object 4">
            <a:extLst>
              <a:ext uri="{FF2B5EF4-FFF2-40B4-BE49-F238E27FC236}">
                <a16:creationId xmlns:a16="http://schemas.microsoft.com/office/drawing/2014/main" id="{53B807F5-B086-49EA-B3D1-D6CB11049FEC}"/>
              </a:ext>
            </a:extLst>
          </p:cNvPr>
          <p:cNvSpPr txBox="1"/>
          <p:nvPr/>
        </p:nvSpPr>
        <p:spPr>
          <a:xfrm>
            <a:off x="2096655" y="909876"/>
            <a:ext cx="6632156" cy="71371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519">
              <a:lnSpc>
                <a:spcPct val="150000"/>
              </a:lnSpc>
            </a:pPr>
            <a:r>
              <a:rPr lang="en-US" sz="3000" dirty="0">
                <a:latin typeface="Futura CE Book" panose="02000504030000020003" pitchFamily="2" charset="0"/>
                <a:cs typeface="Arial"/>
              </a:rPr>
              <a:t>Cryptocurrencies are challenging the legacy…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9169" y="2393510"/>
            <a:ext cx="10633764" cy="3116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0000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DF0A4F3-4DCF-440A-A76E-74E82FF126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1"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DF0A4F3-4DCF-440A-A76E-74E82FF126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04B28AC-F34C-48E8-87A9-A4295C14FA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AA888262-66C8-4D07-9DAD-C712D9376F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255" y="6367324"/>
            <a:ext cx="3860800" cy="365125"/>
          </a:xfrm>
        </p:spPr>
        <p:txBody>
          <a:bodyPr/>
          <a:lstStyle/>
          <a:p>
            <a:pPr algn="l"/>
            <a:r>
              <a:rPr lang="en-US" sz="800" dirty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A Brave New World? The Future of Banking in Emerging Europe </a:t>
            </a: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0A484C32-E1ED-46AB-BF85-F66F386A9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z="800" smtClean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pPr/>
              <a:t>12</a:t>
            </a:fld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12" name="object 2">
            <a:extLst>
              <a:ext uri="{FF2B5EF4-FFF2-40B4-BE49-F238E27FC236}">
                <a16:creationId xmlns:a16="http://schemas.microsoft.com/office/drawing/2014/main" id="{372043DA-FCA6-449E-A876-208ACB15F4DE}"/>
              </a:ext>
            </a:extLst>
          </p:cNvPr>
          <p:cNvSpPr/>
          <p:nvPr/>
        </p:nvSpPr>
        <p:spPr>
          <a:xfrm>
            <a:off x="122" y="0"/>
            <a:ext cx="12191878" cy="6335423"/>
          </a:xfrm>
          <a:custGeom>
            <a:avLst/>
            <a:gdLst/>
            <a:ahLst/>
            <a:cxnLst/>
            <a:rect l="l" t="t" r="r" b="b"/>
            <a:pathLst>
              <a:path w="20104099" h="11308554">
                <a:moveTo>
                  <a:pt x="0" y="11308556"/>
                </a:moveTo>
                <a:lnTo>
                  <a:pt x="20104099" y="11308556"/>
                </a:lnTo>
                <a:lnTo>
                  <a:pt x="20104099" y="1"/>
                </a:lnTo>
                <a:lnTo>
                  <a:pt x="0" y="1"/>
                </a:lnTo>
                <a:lnTo>
                  <a:pt x="0" y="11308556"/>
                </a:lnTo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defTabSz="486369"/>
            <a:endParaRPr sz="957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object 4">
            <a:extLst>
              <a:ext uri="{FF2B5EF4-FFF2-40B4-BE49-F238E27FC236}">
                <a16:creationId xmlns:a16="http://schemas.microsoft.com/office/drawing/2014/main" id="{934CDA0E-0E98-4BB2-8492-44B2E2593AFB}"/>
              </a:ext>
            </a:extLst>
          </p:cNvPr>
          <p:cNvSpPr txBox="1"/>
          <p:nvPr/>
        </p:nvSpPr>
        <p:spPr>
          <a:xfrm>
            <a:off x="878569" y="2469136"/>
            <a:ext cx="9915319" cy="84022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algn="ctr">
              <a:lnSpc>
                <a:spcPct val="100000"/>
              </a:lnSpc>
            </a:pPr>
            <a:r>
              <a:rPr lang="en-US" sz="3600" b="1" dirty="0">
                <a:latin typeface="Futura" panose="020B0604020202020204"/>
                <a:cs typeface="Arial"/>
              </a:rPr>
              <a:t>ANNEX</a:t>
            </a:r>
            <a:endParaRPr sz="3600" dirty="0">
              <a:latin typeface="Futura" panose="020B0604020202020204"/>
              <a:cs typeface="Arial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10573046" y="0"/>
            <a:ext cx="1597721" cy="1615209"/>
            <a:chOff x="10594279" y="-15009"/>
            <a:chExt cx="1597721" cy="1615209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2F1FD8C-26EA-47D2-8404-588BA4BBACEB}"/>
                </a:ext>
              </a:extLst>
            </p:cNvPr>
            <p:cNvGrpSpPr/>
            <p:nvPr/>
          </p:nvGrpSpPr>
          <p:grpSpPr>
            <a:xfrm>
              <a:off x="10594279" y="-15009"/>
              <a:ext cx="1597721" cy="1615209"/>
              <a:chOff x="10594279" y="-15009"/>
              <a:chExt cx="1597721" cy="1615209"/>
            </a:xfrm>
          </p:grpSpPr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36AD23A3-DE25-4538-8AC8-0E51F1E0581F}"/>
                  </a:ext>
                </a:extLst>
              </p:cNvPr>
              <p:cNvGrpSpPr/>
              <p:nvPr/>
            </p:nvGrpSpPr>
            <p:grpSpPr>
              <a:xfrm>
                <a:off x="10594279" y="-15009"/>
                <a:ext cx="1597721" cy="1615209"/>
                <a:chOff x="10594279" y="-15009"/>
                <a:chExt cx="1597721" cy="1615209"/>
              </a:xfrm>
            </p:grpSpPr>
            <p:sp>
              <p:nvSpPr>
                <p:cNvPr id="26" name="Right Triangle 25">
                  <a:extLst>
                    <a:ext uri="{FF2B5EF4-FFF2-40B4-BE49-F238E27FC236}">
                      <a16:creationId xmlns:a16="http://schemas.microsoft.com/office/drawing/2014/main" id="{0A03C037-AD20-47EE-8BE5-895488674BF0}"/>
                    </a:ext>
                  </a:extLst>
                </p:cNvPr>
                <p:cNvSpPr/>
                <p:nvPr/>
              </p:nvSpPr>
              <p:spPr bwMode="auto">
                <a:xfrm>
                  <a:off x="10594279" y="-15009"/>
                  <a:ext cx="1597660" cy="1600200"/>
                </a:xfrm>
                <a:prstGeom prst="rtTriangle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  <p:sp>
              <p:nvSpPr>
                <p:cNvPr id="27" name="Right Triangle 26">
                  <a:extLst>
                    <a:ext uri="{FF2B5EF4-FFF2-40B4-BE49-F238E27FC236}">
                      <a16:creationId xmlns:a16="http://schemas.microsoft.com/office/drawing/2014/main" id="{49F901B3-2A93-4ED2-A00E-BF69FF78C77C}"/>
                    </a:ext>
                  </a:extLst>
                </p:cNvPr>
                <p:cNvSpPr/>
                <p:nvPr/>
              </p:nvSpPr>
              <p:spPr bwMode="auto">
                <a:xfrm rot="10800000">
                  <a:off x="10594340" y="0"/>
                  <a:ext cx="1597660" cy="1600200"/>
                </a:xfrm>
                <a:prstGeom prst="rtTriangl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</p:grpSp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EDE04F49-697D-409B-BB11-F88A15AD54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3748"/>
              <a:stretch/>
            </p:blipFill>
            <p:spPr>
              <a:xfrm>
                <a:off x="11454726" y="301037"/>
                <a:ext cx="394374" cy="386940"/>
              </a:xfrm>
              <a:prstGeom prst="rect">
                <a:avLst/>
              </a:prstGeom>
            </p:spPr>
          </p:pic>
        </p:grp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F2355C5-7A7B-455B-A50F-FE6F7A77BAE4}"/>
                </a:ext>
              </a:extLst>
            </p:cNvPr>
            <p:cNvSpPr/>
            <p:nvPr/>
          </p:nvSpPr>
          <p:spPr bwMode="auto">
            <a:xfrm>
              <a:off x="11393109" y="261649"/>
              <a:ext cx="575745" cy="46571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entury Gothic" pitchFamily="34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725616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165CC22-03E5-44D4-AF90-0B9B575ACD0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1356" y="0"/>
          <a:ext cx="12192000" cy="6858000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548289">
                  <a:extLst>
                    <a:ext uri="{9D8B030D-6E8A-4147-A177-3AD203B41FA5}">
                      <a16:colId xmlns:a16="http://schemas.microsoft.com/office/drawing/2014/main" val="1225932609"/>
                    </a:ext>
                  </a:extLst>
                </a:gridCol>
                <a:gridCol w="10643711">
                  <a:extLst>
                    <a:ext uri="{9D8B030D-6E8A-4147-A177-3AD203B41FA5}">
                      <a16:colId xmlns:a16="http://schemas.microsoft.com/office/drawing/2014/main" val="165969625"/>
                    </a:ext>
                  </a:extLst>
                </a:gridCol>
              </a:tblGrid>
              <a:tr h="685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4000" b="1" i="0" kern="1200" dirty="0">
                        <a:solidFill>
                          <a:schemeClr val="dk1"/>
                        </a:solidFill>
                        <a:latin typeface="Futura CE Book" panose="02000504030000020003" pitchFamily="2" charset="0"/>
                        <a:ea typeface="+mn-ea"/>
                        <a:cs typeface="+mn-cs"/>
                      </a:endParaRPr>
                    </a:p>
                  </a:txBody>
                  <a:tcPr vert="vert27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1371600" marR="0" lvl="3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de-AT" sz="1600" i="0" dirty="0">
                        <a:latin typeface="Futura CE Book" panose="02000504030000020003" pitchFamily="2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486999"/>
                  </a:ext>
                </a:extLst>
              </a:tr>
            </a:tbl>
          </a:graphicData>
        </a:graphic>
      </p:graphicFrame>
      <p:sp>
        <p:nvSpPr>
          <p:cNvPr id="23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>
            <a:off x="166255" y="6367324"/>
            <a:ext cx="3860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A Brave New World? The Future of Banking in Emerging Europe </a:t>
            </a:r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24" name="Slide Number Placeholder 19">
            <a:extLst>
              <a:ext uri="{FF2B5EF4-FFF2-40B4-BE49-F238E27FC236}">
                <a16:creationId xmlns:a16="http://schemas.microsoft.com/office/drawing/2014/main" id="{EE238113-639A-48D7-A13F-6F830A20D66C}"/>
              </a:ext>
            </a:extLst>
          </p:cNvPr>
          <p:cNvSpPr txBox="1">
            <a:spLocks/>
          </p:cNvSpPr>
          <p:nvPr/>
        </p:nvSpPr>
        <p:spPr>
          <a:xfrm>
            <a:off x="8737602" y="6356353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939B1FA-81F2-4940-9AF3-5EAFB5D6669B}" type="slidenum">
              <a:rPr lang="en-US" sz="800" smtClean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pPr algn="r"/>
              <a:t>13</a:t>
            </a:fld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10573046" y="0"/>
            <a:ext cx="1597721" cy="1615209"/>
            <a:chOff x="10594279" y="-15009"/>
            <a:chExt cx="1597721" cy="1615209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B2F1FD8C-26EA-47D2-8404-588BA4BBACEB}"/>
                </a:ext>
              </a:extLst>
            </p:cNvPr>
            <p:cNvGrpSpPr/>
            <p:nvPr/>
          </p:nvGrpSpPr>
          <p:grpSpPr>
            <a:xfrm>
              <a:off x="10594279" y="-15009"/>
              <a:ext cx="1597721" cy="1615209"/>
              <a:chOff x="10594279" y="-15009"/>
              <a:chExt cx="1597721" cy="1615209"/>
            </a:xfrm>
          </p:grpSpPr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36AD23A3-DE25-4538-8AC8-0E51F1E0581F}"/>
                  </a:ext>
                </a:extLst>
              </p:cNvPr>
              <p:cNvGrpSpPr/>
              <p:nvPr/>
            </p:nvGrpSpPr>
            <p:grpSpPr>
              <a:xfrm>
                <a:off x="10594279" y="-15009"/>
                <a:ext cx="1597721" cy="1615209"/>
                <a:chOff x="10594279" y="-15009"/>
                <a:chExt cx="1597721" cy="1615209"/>
              </a:xfrm>
            </p:grpSpPr>
            <p:sp>
              <p:nvSpPr>
                <p:cNvPr id="34" name="Right Triangle 33">
                  <a:extLst>
                    <a:ext uri="{FF2B5EF4-FFF2-40B4-BE49-F238E27FC236}">
                      <a16:creationId xmlns:a16="http://schemas.microsoft.com/office/drawing/2014/main" id="{0A03C037-AD20-47EE-8BE5-895488674BF0}"/>
                    </a:ext>
                  </a:extLst>
                </p:cNvPr>
                <p:cNvSpPr/>
                <p:nvPr/>
              </p:nvSpPr>
              <p:spPr bwMode="auto">
                <a:xfrm>
                  <a:off x="10594279" y="-15009"/>
                  <a:ext cx="1597660" cy="1600200"/>
                </a:xfrm>
                <a:prstGeom prst="rtTriangle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  <p:sp>
              <p:nvSpPr>
                <p:cNvPr id="35" name="Right Triangle 34">
                  <a:extLst>
                    <a:ext uri="{FF2B5EF4-FFF2-40B4-BE49-F238E27FC236}">
                      <a16:creationId xmlns:a16="http://schemas.microsoft.com/office/drawing/2014/main" id="{49F901B3-2A93-4ED2-A00E-BF69FF78C77C}"/>
                    </a:ext>
                  </a:extLst>
                </p:cNvPr>
                <p:cNvSpPr/>
                <p:nvPr/>
              </p:nvSpPr>
              <p:spPr bwMode="auto">
                <a:xfrm rot="10800000">
                  <a:off x="10594340" y="0"/>
                  <a:ext cx="1597660" cy="1600200"/>
                </a:xfrm>
                <a:prstGeom prst="rtTriangl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</p:grpSp>
          <p:pic>
            <p:nvPicPr>
              <p:cNvPr id="33" name="Picture 32">
                <a:extLst>
                  <a:ext uri="{FF2B5EF4-FFF2-40B4-BE49-F238E27FC236}">
                    <a16:creationId xmlns:a16="http://schemas.microsoft.com/office/drawing/2014/main" id="{EDE04F49-697D-409B-BB11-F88A15AD54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3748"/>
              <a:stretch/>
            </p:blipFill>
            <p:spPr>
              <a:xfrm>
                <a:off x="11454726" y="301037"/>
                <a:ext cx="394374" cy="386940"/>
              </a:xfrm>
              <a:prstGeom prst="rect">
                <a:avLst/>
              </a:prstGeom>
            </p:spPr>
          </p:pic>
        </p:grp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7F2355C5-7A7B-455B-A50F-FE6F7A77BAE4}"/>
                </a:ext>
              </a:extLst>
            </p:cNvPr>
            <p:cNvSpPr/>
            <p:nvPr/>
          </p:nvSpPr>
          <p:spPr bwMode="auto">
            <a:xfrm>
              <a:off x="11393109" y="261649"/>
              <a:ext cx="575745" cy="46571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entury Gothic" pitchFamily="34" charset="0"/>
                <a:cs typeface="Arial" charset="0"/>
              </a:endParaRPr>
            </a:p>
          </p:txBody>
        </p: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13C1ABFB-D037-41C9-85D5-7FAE06753ACF}"/>
              </a:ext>
            </a:extLst>
          </p:cNvPr>
          <p:cNvSpPr/>
          <p:nvPr/>
        </p:nvSpPr>
        <p:spPr bwMode="auto">
          <a:xfrm>
            <a:off x="1689347" y="1753695"/>
            <a:ext cx="10159753" cy="106238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7ECF4C5-B426-4B1B-9651-B5399180F612}"/>
              </a:ext>
            </a:extLst>
          </p:cNvPr>
          <p:cNvSpPr/>
          <p:nvPr/>
        </p:nvSpPr>
        <p:spPr>
          <a:xfrm rot="16200000">
            <a:off x="-1990367" y="2795267"/>
            <a:ext cx="5552407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" sz="3000" dirty="0">
                <a:latin typeface="Futura CE Book" panose="02000504030000020003"/>
                <a:ea typeface="Roboto Condensed" panose="02000000000000000000" pitchFamily="2" charset="0"/>
              </a:rPr>
              <a:t>Banks must adopt to low interest rates</a:t>
            </a:r>
          </a:p>
        </p:txBody>
      </p:sp>
      <p:sp>
        <p:nvSpPr>
          <p:cNvPr id="15" name="object 4">
            <a:extLst>
              <a:ext uri="{FF2B5EF4-FFF2-40B4-BE49-F238E27FC236}">
                <a16:creationId xmlns:a16="http://schemas.microsoft.com/office/drawing/2014/main" id="{27B37E1D-FCD7-48CE-A647-BF2E1392071C}"/>
              </a:ext>
            </a:extLst>
          </p:cNvPr>
          <p:cNvSpPr txBox="1"/>
          <p:nvPr/>
        </p:nvSpPr>
        <p:spPr>
          <a:xfrm>
            <a:off x="2073639" y="938658"/>
            <a:ext cx="8067434" cy="61124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519">
              <a:lnSpc>
                <a:spcPct val="150000"/>
              </a:lnSpc>
            </a:pPr>
            <a:r>
              <a:rPr lang="en-US" sz="2600" dirty="0">
                <a:latin typeface="Futura CE Book" panose="02000504030000020003"/>
              </a:rPr>
              <a:t>Development of Interest Margins from a study of 122 EU Banks</a:t>
            </a:r>
            <a:endParaRPr lang="en-US" sz="2600" b="1" dirty="0">
              <a:latin typeface="Futura CE Book" panose="02000504030000020003"/>
              <a:cs typeface="Arial"/>
            </a:endParaRPr>
          </a:p>
          <a:p>
            <a:pPr marL="11519">
              <a:lnSpc>
                <a:spcPct val="150000"/>
              </a:lnSpc>
            </a:pPr>
            <a:endParaRPr lang="en-US" sz="3600" b="1" dirty="0">
              <a:solidFill>
                <a:schemeClr val="bg1">
                  <a:lumMod val="50000"/>
                </a:schemeClr>
              </a:solidFill>
              <a:latin typeface="Futura CE Book" panose="02000504030000020003" pitchFamily="2" charset="0"/>
              <a:cs typeface="Arial"/>
            </a:endParaRPr>
          </a:p>
        </p:txBody>
      </p:sp>
      <p:sp>
        <p:nvSpPr>
          <p:cNvPr id="18" name="object 9"/>
          <p:cNvSpPr/>
          <p:nvPr/>
        </p:nvSpPr>
        <p:spPr>
          <a:xfrm>
            <a:off x="2355508" y="2063725"/>
            <a:ext cx="8628722" cy="4292628"/>
          </a:xfrm>
          <a:custGeom>
            <a:avLst/>
            <a:gdLst/>
            <a:ahLst/>
            <a:cxnLst/>
            <a:rect l="l" t="t" r="r" b="b"/>
            <a:pathLst>
              <a:path w="6264275" h="3227704">
                <a:moveTo>
                  <a:pt x="0" y="3227451"/>
                </a:moveTo>
                <a:lnTo>
                  <a:pt x="6263995" y="3227451"/>
                </a:lnTo>
                <a:lnTo>
                  <a:pt x="6263995" y="0"/>
                </a:lnTo>
                <a:lnTo>
                  <a:pt x="0" y="0"/>
                </a:lnTo>
                <a:lnTo>
                  <a:pt x="0" y="3227451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23796" y="2032254"/>
            <a:ext cx="7066023" cy="3408426"/>
          </a:xfrm>
          <a:prstGeom prst="rect">
            <a:avLst/>
          </a:prstGeom>
        </p:spPr>
      </p:pic>
      <p:sp>
        <p:nvSpPr>
          <p:cNvPr id="51" name="object 53"/>
          <p:cNvSpPr txBox="1"/>
          <p:nvPr/>
        </p:nvSpPr>
        <p:spPr>
          <a:xfrm>
            <a:off x="2923796" y="5771920"/>
            <a:ext cx="1105030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spc="-10" dirty="0">
                <a:solidFill>
                  <a:srgbClr val="52575A"/>
                </a:solidFill>
                <a:latin typeface="Calibri"/>
                <a:cs typeface="Calibri"/>
              </a:rPr>
              <a:t>Source: </a:t>
            </a:r>
            <a:r>
              <a:rPr sz="800" spc="-5" dirty="0">
                <a:solidFill>
                  <a:srgbClr val="52575A"/>
                </a:solidFill>
                <a:latin typeface="Calibri"/>
                <a:cs typeface="Calibri"/>
              </a:rPr>
              <a:t>BearingPoint </a:t>
            </a:r>
            <a:r>
              <a:rPr sz="800" spc="-10" dirty="0">
                <a:solidFill>
                  <a:srgbClr val="52575A"/>
                </a:solidFill>
                <a:latin typeface="Calibri"/>
                <a:cs typeface="Calibri"/>
              </a:rPr>
              <a:t>F&amp;R </a:t>
            </a:r>
            <a:r>
              <a:rPr sz="800" spc="5" dirty="0">
                <a:solidFill>
                  <a:srgbClr val="52575A"/>
                </a:solidFill>
                <a:latin typeface="Calibri"/>
                <a:cs typeface="Calibri"/>
              </a:rPr>
              <a:t>KPI Database</a:t>
            </a:r>
            <a:r>
              <a:rPr sz="800" spc="-25" dirty="0">
                <a:solidFill>
                  <a:srgbClr val="52575A"/>
                </a:solidFill>
                <a:latin typeface="Calibri"/>
                <a:cs typeface="Calibri"/>
              </a:rPr>
              <a:t> </a:t>
            </a:r>
            <a:r>
              <a:rPr sz="800" spc="10" dirty="0">
                <a:solidFill>
                  <a:srgbClr val="52575A"/>
                </a:solidFill>
                <a:latin typeface="Calibri"/>
                <a:cs typeface="Calibri"/>
              </a:rPr>
              <a:t>2018</a:t>
            </a:r>
            <a:endParaRPr sz="800" dirty="0">
              <a:latin typeface="Calibri"/>
              <a:cs typeface="Calibri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43193" y="5393850"/>
            <a:ext cx="2920237" cy="944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6556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165CC22-03E5-44D4-AF90-0B9B575ACD0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33" y="-26732"/>
          <a:ext cx="12192000" cy="6858000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382390">
                  <a:extLst>
                    <a:ext uri="{9D8B030D-6E8A-4147-A177-3AD203B41FA5}">
                      <a16:colId xmlns:a16="http://schemas.microsoft.com/office/drawing/2014/main" val="1225932609"/>
                    </a:ext>
                  </a:extLst>
                </a:gridCol>
                <a:gridCol w="10809610">
                  <a:extLst>
                    <a:ext uri="{9D8B030D-6E8A-4147-A177-3AD203B41FA5}">
                      <a16:colId xmlns:a16="http://schemas.microsoft.com/office/drawing/2014/main" val="165969625"/>
                    </a:ext>
                  </a:extLst>
                </a:gridCol>
              </a:tblGrid>
              <a:tr h="685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4000" b="1" i="0" kern="1200" dirty="0">
                        <a:solidFill>
                          <a:schemeClr val="dk1"/>
                        </a:solidFill>
                        <a:latin typeface="Futura CE Book" panose="02000504030000020003" pitchFamily="2" charset="0"/>
                        <a:ea typeface="+mn-ea"/>
                        <a:cs typeface="+mn-cs"/>
                      </a:endParaRPr>
                    </a:p>
                  </a:txBody>
                  <a:tcPr vert="vert27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1371600" marR="0" lvl="3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de-AT" sz="1600" i="0" dirty="0">
                        <a:latin typeface="Futura CE Book" panose="02000504030000020003" pitchFamily="2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486999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7ECF4C5-B426-4B1B-9651-B5399180F612}"/>
              </a:ext>
            </a:extLst>
          </p:cNvPr>
          <p:cNvSpPr/>
          <p:nvPr/>
        </p:nvSpPr>
        <p:spPr>
          <a:xfrm rot="16200000">
            <a:off x="-1077538" y="2997616"/>
            <a:ext cx="3593228" cy="7687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en-GB" sz="3200" dirty="0">
                <a:latin typeface="Futura CE Book" panose="02000504030000020003"/>
                <a:ea typeface="Roboto Condensed" panose="02000000000000000000" pitchFamily="2" charset="0"/>
              </a:rPr>
              <a:t>Increasing Digitization</a:t>
            </a:r>
          </a:p>
        </p:txBody>
      </p:sp>
      <p:sp>
        <p:nvSpPr>
          <p:cNvPr id="23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>
            <a:off x="166255" y="6367324"/>
            <a:ext cx="3860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A Brave New World? The Future of Banking in Emerging Europe </a:t>
            </a:r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24" name="Slide Number Placeholder 19">
            <a:extLst>
              <a:ext uri="{FF2B5EF4-FFF2-40B4-BE49-F238E27FC236}">
                <a16:creationId xmlns:a16="http://schemas.microsoft.com/office/drawing/2014/main" id="{EE238113-639A-48D7-A13F-6F830A20D66C}"/>
              </a:ext>
            </a:extLst>
          </p:cNvPr>
          <p:cNvSpPr txBox="1">
            <a:spLocks/>
          </p:cNvSpPr>
          <p:nvPr/>
        </p:nvSpPr>
        <p:spPr>
          <a:xfrm>
            <a:off x="8737602" y="6356353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939B1FA-81F2-4940-9AF3-5EAFB5D6669B}" type="slidenum">
              <a:rPr lang="en-US" sz="800" smtClean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pPr algn="r"/>
              <a:t>14</a:t>
            </a:fld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id="{27B37E1D-FCD7-48CE-A647-BF2E1392071C}"/>
              </a:ext>
            </a:extLst>
          </p:cNvPr>
          <p:cNvSpPr txBox="1"/>
          <p:nvPr/>
        </p:nvSpPr>
        <p:spPr>
          <a:xfrm>
            <a:off x="1953961" y="910375"/>
            <a:ext cx="7956644" cy="74450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519">
              <a:lnSpc>
                <a:spcPct val="150000"/>
              </a:lnSpc>
            </a:pPr>
            <a:r>
              <a:rPr lang="en-GB" sz="3000" dirty="0">
                <a:latin typeface="Futura CE Book" panose="02000504030000020003" pitchFamily="2" charset="0"/>
                <a:cs typeface="Arial"/>
              </a:rPr>
              <a:t>Banks lag behind other industries in level of digitization</a:t>
            </a:r>
            <a:endParaRPr lang="en-US" sz="3000" dirty="0">
              <a:latin typeface="Futura CE Book" panose="02000504030000020003" pitchFamily="2" charset="0"/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C1ABFB-D037-41C9-85D5-7FAE06753ACF}"/>
              </a:ext>
            </a:extLst>
          </p:cNvPr>
          <p:cNvSpPr/>
          <p:nvPr/>
        </p:nvSpPr>
        <p:spPr bwMode="auto">
          <a:xfrm>
            <a:off x="1787868" y="1651373"/>
            <a:ext cx="10159753" cy="106238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27" name="object 10">
            <a:extLst>
              <a:ext uri="{FF2B5EF4-FFF2-40B4-BE49-F238E27FC236}">
                <a16:creationId xmlns:a16="http://schemas.microsoft.com/office/drawing/2014/main" id="{BA837F25-94F2-44A4-98F7-2A69FDF8E816}"/>
              </a:ext>
            </a:extLst>
          </p:cNvPr>
          <p:cNvSpPr/>
          <p:nvPr/>
        </p:nvSpPr>
        <p:spPr>
          <a:xfrm>
            <a:off x="5522327" y="3147238"/>
            <a:ext cx="1835785" cy="1835785"/>
          </a:xfrm>
          <a:custGeom>
            <a:avLst/>
            <a:gdLst/>
            <a:ahLst/>
            <a:cxnLst/>
            <a:rect l="l" t="t" r="r" b="b"/>
            <a:pathLst>
              <a:path w="1835785" h="1835785">
                <a:moveTo>
                  <a:pt x="1835658" y="917438"/>
                </a:moveTo>
                <a:lnTo>
                  <a:pt x="1834133" y="870194"/>
                </a:lnTo>
                <a:lnTo>
                  <a:pt x="1830324" y="823712"/>
                </a:lnTo>
                <a:lnTo>
                  <a:pt x="1824989" y="777230"/>
                </a:lnTo>
                <a:lnTo>
                  <a:pt x="1816341" y="729985"/>
                </a:lnTo>
                <a:lnTo>
                  <a:pt x="1805357" y="683652"/>
                </a:lnTo>
                <a:lnTo>
                  <a:pt x="1792105" y="638293"/>
                </a:lnTo>
                <a:lnTo>
                  <a:pt x="1776649" y="593967"/>
                </a:lnTo>
                <a:lnTo>
                  <a:pt x="1759056" y="550739"/>
                </a:lnTo>
                <a:lnTo>
                  <a:pt x="1739392" y="508668"/>
                </a:lnTo>
                <a:lnTo>
                  <a:pt x="1717722" y="467816"/>
                </a:lnTo>
                <a:lnTo>
                  <a:pt x="1694113" y="428244"/>
                </a:lnTo>
                <a:lnTo>
                  <a:pt x="1668630" y="390015"/>
                </a:lnTo>
                <a:lnTo>
                  <a:pt x="1641339" y="353190"/>
                </a:lnTo>
                <a:lnTo>
                  <a:pt x="1612307" y="317830"/>
                </a:lnTo>
                <a:lnTo>
                  <a:pt x="1581599" y="283996"/>
                </a:lnTo>
                <a:lnTo>
                  <a:pt x="1549281" y="251751"/>
                </a:lnTo>
                <a:lnTo>
                  <a:pt x="1515419" y="221155"/>
                </a:lnTo>
                <a:lnTo>
                  <a:pt x="1480078" y="192271"/>
                </a:lnTo>
                <a:lnTo>
                  <a:pt x="1443326" y="165159"/>
                </a:lnTo>
                <a:lnTo>
                  <a:pt x="1405227" y="139882"/>
                </a:lnTo>
                <a:lnTo>
                  <a:pt x="1365848" y="116500"/>
                </a:lnTo>
                <a:lnTo>
                  <a:pt x="1325254" y="95075"/>
                </a:lnTo>
                <a:lnTo>
                  <a:pt x="1283353" y="75604"/>
                </a:lnTo>
                <a:lnTo>
                  <a:pt x="1240513" y="58282"/>
                </a:lnTo>
                <a:lnTo>
                  <a:pt x="1196845" y="43158"/>
                </a:lnTo>
                <a:lnTo>
                  <a:pt x="1152052" y="30177"/>
                </a:lnTo>
                <a:lnTo>
                  <a:pt x="1106375" y="19461"/>
                </a:lnTo>
                <a:lnTo>
                  <a:pt x="1059878" y="11070"/>
                </a:lnTo>
                <a:lnTo>
                  <a:pt x="1012628" y="5068"/>
                </a:lnTo>
                <a:lnTo>
                  <a:pt x="965454" y="1570"/>
                </a:lnTo>
                <a:lnTo>
                  <a:pt x="918210" y="14"/>
                </a:lnTo>
                <a:lnTo>
                  <a:pt x="917150" y="0"/>
                </a:lnTo>
                <a:lnTo>
                  <a:pt x="870204" y="1514"/>
                </a:lnTo>
                <a:lnTo>
                  <a:pt x="822415" y="5071"/>
                </a:lnTo>
                <a:lnTo>
                  <a:pt x="775260" y="11093"/>
                </a:lnTo>
                <a:lnTo>
                  <a:pt x="728872" y="19505"/>
                </a:lnTo>
                <a:lnTo>
                  <a:pt x="683255" y="30256"/>
                </a:lnTo>
                <a:lnTo>
                  <a:pt x="638499" y="43281"/>
                </a:lnTo>
                <a:lnTo>
                  <a:pt x="594672" y="58515"/>
                </a:lnTo>
                <a:lnTo>
                  <a:pt x="551845" y="75897"/>
                </a:lnTo>
                <a:lnTo>
                  <a:pt x="510084" y="95364"/>
                </a:lnTo>
                <a:lnTo>
                  <a:pt x="469459" y="116852"/>
                </a:lnTo>
                <a:lnTo>
                  <a:pt x="430039" y="140301"/>
                </a:lnTo>
                <a:lnTo>
                  <a:pt x="391891" y="165646"/>
                </a:lnTo>
                <a:lnTo>
                  <a:pt x="355085" y="192825"/>
                </a:lnTo>
                <a:lnTo>
                  <a:pt x="319690" y="221776"/>
                </a:lnTo>
                <a:lnTo>
                  <a:pt x="285773" y="252435"/>
                </a:lnTo>
                <a:lnTo>
                  <a:pt x="253404" y="284741"/>
                </a:lnTo>
                <a:lnTo>
                  <a:pt x="222651" y="318630"/>
                </a:lnTo>
                <a:lnTo>
                  <a:pt x="193583" y="354039"/>
                </a:lnTo>
                <a:lnTo>
                  <a:pt x="166268" y="390907"/>
                </a:lnTo>
                <a:lnTo>
                  <a:pt x="140775" y="429170"/>
                </a:lnTo>
                <a:lnTo>
                  <a:pt x="117174" y="468767"/>
                </a:lnTo>
                <a:lnTo>
                  <a:pt x="95531" y="509633"/>
                </a:lnTo>
                <a:lnTo>
                  <a:pt x="75917" y="551706"/>
                </a:lnTo>
                <a:lnTo>
                  <a:pt x="58399" y="594925"/>
                </a:lnTo>
                <a:lnTo>
                  <a:pt x="43047" y="639225"/>
                </a:lnTo>
                <a:lnTo>
                  <a:pt x="29928" y="684545"/>
                </a:lnTo>
                <a:lnTo>
                  <a:pt x="19112" y="730821"/>
                </a:lnTo>
                <a:lnTo>
                  <a:pt x="10667" y="777992"/>
                </a:lnTo>
                <a:lnTo>
                  <a:pt x="4571" y="823712"/>
                </a:lnTo>
                <a:lnTo>
                  <a:pt x="1523" y="870956"/>
                </a:lnTo>
                <a:lnTo>
                  <a:pt x="0" y="918200"/>
                </a:lnTo>
                <a:lnTo>
                  <a:pt x="1524" y="965444"/>
                </a:lnTo>
                <a:lnTo>
                  <a:pt x="5334" y="1011926"/>
                </a:lnTo>
                <a:lnTo>
                  <a:pt x="10668" y="1057646"/>
                </a:lnTo>
                <a:lnTo>
                  <a:pt x="19050" y="1102604"/>
                </a:lnTo>
                <a:lnTo>
                  <a:pt x="25908" y="1132064"/>
                </a:lnTo>
                <a:lnTo>
                  <a:pt x="25908" y="917438"/>
                </a:lnTo>
                <a:lnTo>
                  <a:pt x="26669" y="870956"/>
                </a:lnTo>
                <a:lnTo>
                  <a:pt x="30479" y="825998"/>
                </a:lnTo>
                <a:lnTo>
                  <a:pt x="35813" y="781040"/>
                </a:lnTo>
                <a:lnTo>
                  <a:pt x="44613" y="733170"/>
                </a:lnTo>
                <a:lnTo>
                  <a:pt x="55857" y="686307"/>
                </a:lnTo>
                <a:lnTo>
                  <a:pt x="69471" y="640514"/>
                </a:lnTo>
                <a:lnTo>
                  <a:pt x="85383" y="595854"/>
                </a:lnTo>
                <a:lnTo>
                  <a:pt x="103520" y="552389"/>
                </a:lnTo>
                <a:lnTo>
                  <a:pt x="123810" y="510182"/>
                </a:lnTo>
                <a:lnTo>
                  <a:pt x="146180" y="469295"/>
                </a:lnTo>
                <a:lnTo>
                  <a:pt x="170556" y="429790"/>
                </a:lnTo>
                <a:lnTo>
                  <a:pt x="196866" y="391731"/>
                </a:lnTo>
                <a:lnTo>
                  <a:pt x="225038" y="355180"/>
                </a:lnTo>
                <a:lnTo>
                  <a:pt x="254999" y="320200"/>
                </a:lnTo>
                <a:lnTo>
                  <a:pt x="286675" y="286852"/>
                </a:lnTo>
                <a:lnTo>
                  <a:pt x="319994" y="255200"/>
                </a:lnTo>
                <a:lnTo>
                  <a:pt x="354883" y="225306"/>
                </a:lnTo>
                <a:lnTo>
                  <a:pt x="391269" y="197233"/>
                </a:lnTo>
                <a:lnTo>
                  <a:pt x="429080" y="171043"/>
                </a:lnTo>
                <a:lnTo>
                  <a:pt x="468243" y="146799"/>
                </a:lnTo>
                <a:lnTo>
                  <a:pt x="508685" y="124563"/>
                </a:lnTo>
                <a:lnTo>
                  <a:pt x="550334" y="104398"/>
                </a:lnTo>
                <a:lnTo>
                  <a:pt x="593115" y="86366"/>
                </a:lnTo>
                <a:lnTo>
                  <a:pt x="636957" y="70531"/>
                </a:lnTo>
                <a:lnTo>
                  <a:pt x="681788" y="56954"/>
                </a:lnTo>
                <a:lnTo>
                  <a:pt x="727533" y="45698"/>
                </a:lnTo>
                <a:lnTo>
                  <a:pt x="774121" y="36825"/>
                </a:lnTo>
                <a:lnTo>
                  <a:pt x="821478" y="30399"/>
                </a:lnTo>
                <a:lnTo>
                  <a:pt x="868757" y="26545"/>
                </a:lnTo>
                <a:lnTo>
                  <a:pt x="918210" y="25136"/>
                </a:lnTo>
                <a:lnTo>
                  <a:pt x="963168" y="26634"/>
                </a:lnTo>
                <a:lnTo>
                  <a:pt x="1009650" y="29708"/>
                </a:lnTo>
                <a:lnTo>
                  <a:pt x="1057656" y="36006"/>
                </a:lnTo>
                <a:lnTo>
                  <a:pt x="1104755" y="44797"/>
                </a:lnTo>
                <a:lnTo>
                  <a:pt x="1151010" y="56035"/>
                </a:lnTo>
                <a:lnTo>
                  <a:pt x="1196308" y="69643"/>
                </a:lnTo>
                <a:lnTo>
                  <a:pt x="1240687" y="85597"/>
                </a:lnTo>
                <a:lnTo>
                  <a:pt x="1283741" y="103687"/>
                </a:lnTo>
                <a:lnTo>
                  <a:pt x="1325764" y="123999"/>
                </a:lnTo>
                <a:lnTo>
                  <a:pt x="1366623" y="146457"/>
                </a:lnTo>
                <a:lnTo>
                  <a:pt x="1405908" y="170772"/>
                </a:lnTo>
                <a:lnTo>
                  <a:pt x="1443948" y="197126"/>
                </a:lnTo>
                <a:lnTo>
                  <a:pt x="1480527" y="225359"/>
                </a:lnTo>
                <a:lnTo>
                  <a:pt x="1515574" y="255401"/>
                </a:lnTo>
                <a:lnTo>
                  <a:pt x="1549017" y="287183"/>
                </a:lnTo>
                <a:lnTo>
                  <a:pt x="1580784" y="320634"/>
                </a:lnTo>
                <a:lnTo>
                  <a:pt x="1610804" y="355684"/>
                </a:lnTo>
                <a:lnTo>
                  <a:pt x="1639004" y="392263"/>
                </a:lnTo>
                <a:lnTo>
                  <a:pt x="1665313" y="430302"/>
                </a:lnTo>
                <a:lnTo>
                  <a:pt x="1689660" y="469729"/>
                </a:lnTo>
                <a:lnTo>
                  <a:pt x="1711973" y="510476"/>
                </a:lnTo>
                <a:lnTo>
                  <a:pt x="1732179" y="552472"/>
                </a:lnTo>
                <a:lnTo>
                  <a:pt x="1750208" y="595647"/>
                </a:lnTo>
                <a:lnTo>
                  <a:pt x="1765988" y="639932"/>
                </a:lnTo>
                <a:lnTo>
                  <a:pt x="1779446" y="685255"/>
                </a:lnTo>
                <a:lnTo>
                  <a:pt x="1790512" y="731548"/>
                </a:lnTo>
                <a:lnTo>
                  <a:pt x="1799113" y="778739"/>
                </a:lnTo>
                <a:lnTo>
                  <a:pt x="1805177" y="826760"/>
                </a:lnTo>
                <a:lnTo>
                  <a:pt x="1808988" y="871718"/>
                </a:lnTo>
                <a:lnTo>
                  <a:pt x="1809750" y="918200"/>
                </a:lnTo>
                <a:lnTo>
                  <a:pt x="1809750" y="1133142"/>
                </a:lnTo>
                <a:lnTo>
                  <a:pt x="1816190" y="1105830"/>
                </a:lnTo>
                <a:lnTo>
                  <a:pt x="1824599" y="1059460"/>
                </a:lnTo>
                <a:lnTo>
                  <a:pt x="1830601" y="1012387"/>
                </a:lnTo>
                <a:lnTo>
                  <a:pt x="1834133" y="964682"/>
                </a:lnTo>
                <a:lnTo>
                  <a:pt x="1835658" y="917438"/>
                </a:lnTo>
                <a:close/>
              </a:path>
              <a:path w="1835785" h="1835785">
                <a:moveTo>
                  <a:pt x="1809750" y="1133142"/>
                </a:moveTo>
                <a:lnTo>
                  <a:pt x="1809750" y="918200"/>
                </a:lnTo>
                <a:lnTo>
                  <a:pt x="1808988" y="963920"/>
                </a:lnTo>
                <a:lnTo>
                  <a:pt x="1805177" y="1008878"/>
                </a:lnTo>
                <a:lnTo>
                  <a:pt x="1799032" y="1056964"/>
                </a:lnTo>
                <a:lnTo>
                  <a:pt x="1790364" y="1104210"/>
                </a:lnTo>
                <a:lnTo>
                  <a:pt x="1779243" y="1150545"/>
                </a:lnTo>
                <a:lnTo>
                  <a:pt x="1765741" y="1195901"/>
                </a:lnTo>
                <a:lnTo>
                  <a:pt x="1749928" y="1240207"/>
                </a:lnTo>
                <a:lnTo>
                  <a:pt x="1731874" y="1283394"/>
                </a:lnTo>
                <a:lnTo>
                  <a:pt x="1711650" y="1325393"/>
                </a:lnTo>
                <a:lnTo>
                  <a:pt x="1689326" y="1366134"/>
                </a:lnTo>
                <a:lnTo>
                  <a:pt x="1664973" y="1405548"/>
                </a:lnTo>
                <a:lnTo>
                  <a:pt x="1638662" y="1443565"/>
                </a:lnTo>
                <a:lnTo>
                  <a:pt x="1610463" y="1480116"/>
                </a:lnTo>
                <a:lnTo>
                  <a:pt x="1580447" y="1515131"/>
                </a:lnTo>
                <a:lnTo>
                  <a:pt x="1548684" y="1548541"/>
                </a:lnTo>
                <a:lnTo>
                  <a:pt x="1515244" y="1580276"/>
                </a:lnTo>
                <a:lnTo>
                  <a:pt x="1480078" y="1610359"/>
                </a:lnTo>
                <a:lnTo>
                  <a:pt x="1443618" y="1638443"/>
                </a:lnTo>
                <a:lnTo>
                  <a:pt x="1405572" y="1664737"/>
                </a:lnTo>
                <a:lnTo>
                  <a:pt x="1366133" y="1689078"/>
                </a:lnTo>
                <a:lnTo>
                  <a:pt x="1325254" y="1711452"/>
                </a:lnTo>
                <a:lnTo>
                  <a:pt x="1283353" y="1731624"/>
                </a:lnTo>
                <a:lnTo>
                  <a:pt x="1240154" y="1749689"/>
                </a:lnTo>
                <a:lnTo>
                  <a:pt x="1195842" y="1765525"/>
                </a:lnTo>
                <a:lnTo>
                  <a:pt x="1150490" y="1779059"/>
                </a:lnTo>
                <a:lnTo>
                  <a:pt x="1104166" y="1790225"/>
                </a:lnTo>
                <a:lnTo>
                  <a:pt x="1056942" y="1798951"/>
                </a:lnTo>
                <a:lnTo>
                  <a:pt x="1008888" y="1805168"/>
                </a:lnTo>
                <a:lnTo>
                  <a:pt x="963168" y="1808216"/>
                </a:lnTo>
                <a:lnTo>
                  <a:pt x="918210" y="1809714"/>
                </a:lnTo>
                <a:lnTo>
                  <a:pt x="917150" y="1809732"/>
                </a:lnTo>
                <a:lnTo>
                  <a:pt x="868757" y="1808400"/>
                </a:lnTo>
                <a:lnTo>
                  <a:pt x="820688" y="1804484"/>
                </a:lnTo>
                <a:lnTo>
                  <a:pt x="773313" y="1798052"/>
                </a:lnTo>
                <a:lnTo>
                  <a:pt x="726704" y="1789166"/>
                </a:lnTo>
                <a:lnTo>
                  <a:pt x="680936" y="1777888"/>
                </a:lnTo>
                <a:lnTo>
                  <a:pt x="636081" y="1764280"/>
                </a:lnTo>
                <a:lnTo>
                  <a:pt x="592213" y="1748401"/>
                </a:lnTo>
                <a:lnTo>
                  <a:pt x="549404" y="1730315"/>
                </a:lnTo>
                <a:lnTo>
                  <a:pt x="507728" y="1710082"/>
                </a:lnTo>
                <a:lnTo>
                  <a:pt x="467258" y="1687764"/>
                </a:lnTo>
                <a:lnTo>
                  <a:pt x="428067" y="1663423"/>
                </a:lnTo>
                <a:lnTo>
                  <a:pt x="390228" y="1637119"/>
                </a:lnTo>
                <a:lnTo>
                  <a:pt x="353815" y="1608915"/>
                </a:lnTo>
                <a:lnTo>
                  <a:pt x="318900" y="1578871"/>
                </a:lnTo>
                <a:lnTo>
                  <a:pt x="285557" y="1547050"/>
                </a:lnTo>
                <a:lnTo>
                  <a:pt x="253859" y="1513513"/>
                </a:lnTo>
                <a:lnTo>
                  <a:pt x="223879" y="1478321"/>
                </a:lnTo>
                <a:lnTo>
                  <a:pt x="195689" y="1441536"/>
                </a:lnTo>
                <a:lnTo>
                  <a:pt x="169364" y="1403218"/>
                </a:lnTo>
                <a:lnTo>
                  <a:pt x="144977" y="1363431"/>
                </a:lnTo>
                <a:lnTo>
                  <a:pt x="122600" y="1322234"/>
                </a:lnTo>
                <a:lnTo>
                  <a:pt x="102307" y="1279690"/>
                </a:lnTo>
                <a:lnTo>
                  <a:pt x="84170" y="1235861"/>
                </a:lnTo>
                <a:lnTo>
                  <a:pt x="68264" y="1190806"/>
                </a:lnTo>
                <a:lnTo>
                  <a:pt x="54660" y="1144589"/>
                </a:lnTo>
                <a:lnTo>
                  <a:pt x="43434" y="1097270"/>
                </a:lnTo>
                <a:lnTo>
                  <a:pt x="35814" y="1053074"/>
                </a:lnTo>
                <a:lnTo>
                  <a:pt x="30480" y="1008116"/>
                </a:lnTo>
                <a:lnTo>
                  <a:pt x="26670" y="963158"/>
                </a:lnTo>
                <a:lnTo>
                  <a:pt x="25908" y="917438"/>
                </a:lnTo>
                <a:lnTo>
                  <a:pt x="25908" y="1132064"/>
                </a:lnTo>
                <a:lnTo>
                  <a:pt x="43261" y="1195612"/>
                </a:lnTo>
                <a:lnTo>
                  <a:pt x="58762" y="1240452"/>
                </a:lnTo>
                <a:lnTo>
                  <a:pt x="76431" y="1284109"/>
                </a:lnTo>
                <a:lnTo>
                  <a:pt x="96196" y="1326529"/>
                </a:lnTo>
                <a:lnTo>
                  <a:pt x="117987" y="1367656"/>
                </a:lnTo>
                <a:lnTo>
                  <a:pt x="141733" y="1407435"/>
                </a:lnTo>
                <a:lnTo>
                  <a:pt x="167361" y="1445812"/>
                </a:lnTo>
                <a:lnTo>
                  <a:pt x="194800" y="1482731"/>
                </a:lnTo>
                <a:lnTo>
                  <a:pt x="223980" y="1518137"/>
                </a:lnTo>
                <a:lnTo>
                  <a:pt x="254828" y="1551976"/>
                </a:lnTo>
                <a:lnTo>
                  <a:pt x="287274" y="1584193"/>
                </a:lnTo>
                <a:lnTo>
                  <a:pt x="321246" y="1614732"/>
                </a:lnTo>
                <a:lnTo>
                  <a:pt x="356673" y="1643538"/>
                </a:lnTo>
                <a:lnTo>
                  <a:pt x="393483" y="1670557"/>
                </a:lnTo>
                <a:lnTo>
                  <a:pt x="431605" y="1695734"/>
                </a:lnTo>
                <a:lnTo>
                  <a:pt x="470968" y="1719013"/>
                </a:lnTo>
                <a:lnTo>
                  <a:pt x="511501" y="1740339"/>
                </a:lnTo>
                <a:lnTo>
                  <a:pt x="553132" y="1759658"/>
                </a:lnTo>
                <a:lnTo>
                  <a:pt x="595789" y="1776915"/>
                </a:lnTo>
                <a:lnTo>
                  <a:pt x="639402" y="1792054"/>
                </a:lnTo>
                <a:lnTo>
                  <a:pt x="683899" y="1805021"/>
                </a:lnTo>
                <a:lnTo>
                  <a:pt x="729209" y="1815761"/>
                </a:lnTo>
                <a:lnTo>
                  <a:pt x="775281" y="1824221"/>
                </a:lnTo>
                <a:lnTo>
                  <a:pt x="821478" y="1830272"/>
                </a:lnTo>
                <a:lnTo>
                  <a:pt x="868757" y="1834023"/>
                </a:lnTo>
                <a:lnTo>
                  <a:pt x="917150" y="1835346"/>
                </a:lnTo>
                <a:lnTo>
                  <a:pt x="965454" y="1834124"/>
                </a:lnTo>
                <a:lnTo>
                  <a:pt x="1011936" y="1830314"/>
                </a:lnTo>
                <a:lnTo>
                  <a:pt x="1057656" y="1824218"/>
                </a:lnTo>
                <a:lnTo>
                  <a:pt x="1104755" y="1815906"/>
                </a:lnTo>
                <a:lnTo>
                  <a:pt x="1151010" y="1805185"/>
                </a:lnTo>
                <a:lnTo>
                  <a:pt x="1196308" y="1792137"/>
                </a:lnTo>
                <a:lnTo>
                  <a:pt x="1240687" y="1776793"/>
                </a:lnTo>
                <a:lnTo>
                  <a:pt x="1283741" y="1759367"/>
                </a:lnTo>
                <a:lnTo>
                  <a:pt x="1325764" y="1739787"/>
                </a:lnTo>
                <a:lnTo>
                  <a:pt x="1366623" y="1718147"/>
                </a:lnTo>
                <a:lnTo>
                  <a:pt x="1406219" y="1694531"/>
                </a:lnTo>
                <a:lnTo>
                  <a:pt x="1444489" y="1669013"/>
                </a:lnTo>
                <a:lnTo>
                  <a:pt x="1481369" y="1641661"/>
                </a:lnTo>
                <a:lnTo>
                  <a:pt x="1516797" y="1612547"/>
                </a:lnTo>
                <a:lnTo>
                  <a:pt x="1550707" y="1581741"/>
                </a:lnTo>
                <a:lnTo>
                  <a:pt x="1583037" y="1549314"/>
                </a:lnTo>
                <a:lnTo>
                  <a:pt x="1613723" y="1515337"/>
                </a:lnTo>
                <a:lnTo>
                  <a:pt x="1642702" y="1479880"/>
                </a:lnTo>
                <a:lnTo>
                  <a:pt x="1669910" y="1443013"/>
                </a:lnTo>
                <a:lnTo>
                  <a:pt x="1695283" y="1404809"/>
                </a:lnTo>
                <a:lnTo>
                  <a:pt x="1718758" y="1365336"/>
                </a:lnTo>
                <a:lnTo>
                  <a:pt x="1740272" y="1324666"/>
                </a:lnTo>
                <a:lnTo>
                  <a:pt x="1759760" y="1282869"/>
                </a:lnTo>
                <a:lnTo>
                  <a:pt x="1777159" y="1240017"/>
                </a:lnTo>
                <a:lnTo>
                  <a:pt x="1792407" y="1196179"/>
                </a:lnTo>
                <a:lnTo>
                  <a:pt x="1805438" y="1151426"/>
                </a:lnTo>
                <a:lnTo>
                  <a:pt x="1809750" y="1133142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12">
            <a:extLst>
              <a:ext uri="{FF2B5EF4-FFF2-40B4-BE49-F238E27FC236}">
                <a16:creationId xmlns:a16="http://schemas.microsoft.com/office/drawing/2014/main" id="{A343D0A0-B3A1-42AE-9B82-2A97DFB48BDE}"/>
              </a:ext>
            </a:extLst>
          </p:cNvPr>
          <p:cNvSpPr/>
          <p:nvPr/>
        </p:nvSpPr>
        <p:spPr>
          <a:xfrm>
            <a:off x="7509623" y="3391830"/>
            <a:ext cx="1268730" cy="1268730"/>
          </a:xfrm>
          <a:custGeom>
            <a:avLst/>
            <a:gdLst/>
            <a:ahLst/>
            <a:cxnLst/>
            <a:rect l="l" t="t" r="r" b="b"/>
            <a:pathLst>
              <a:path w="1268729" h="1268729">
                <a:moveTo>
                  <a:pt x="12953" y="621791"/>
                </a:moveTo>
                <a:lnTo>
                  <a:pt x="9905" y="621791"/>
                </a:lnTo>
                <a:lnTo>
                  <a:pt x="6095" y="623315"/>
                </a:lnTo>
                <a:lnTo>
                  <a:pt x="1523" y="627887"/>
                </a:lnTo>
                <a:lnTo>
                  <a:pt x="0" y="631697"/>
                </a:lnTo>
                <a:lnTo>
                  <a:pt x="0" y="634745"/>
                </a:lnTo>
                <a:lnTo>
                  <a:pt x="761" y="651509"/>
                </a:lnTo>
                <a:lnTo>
                  <a:pt x="761" y="634745"/>
                </a:lnTo>
                <a:lnTo>
                  <a:pt x="12953" y="621791"/>
                </a:lnTo>
                <a:close/>
              </a:path>
              <a:path w="1268729" h="1268729">
                <a:moveTo>
                  <a:pt x="1268729" y="650747"/>
                </a:moveTo>
                <a:lnTo>
                  <a:pt x="1268729" y="617981"/>
                </a:lnTo>
                <a:lnTo>
                  <a:pt x="1267967" y="601979"/>
                </a:lnTo>
                <a:lnTo>
                  <a:pt x="1263674" y="552962"/>
                </a:lnTo>
                <a:lnTo>
                  <a:pt x="1255704" y="505089"/>
                </a:lnTo>
                <a:lnTo>
                  <a:pt x="1244203" y="458504"/>
                </a:lnTo>
                <a:lnTo>
                  <a:pt x="1229319" y="413347"/>
                </a:lnTo>
                <a:lnTo>
                  <a:pt x="1211198" y="369761"/>
                </a:lnTo>
                <a:lnTo>
                  <a:pt x="1189987" y="327887"/>
                </a:lnTo>
                <a:lnTo>
                  <a:pt x="1165833" y="287867"/>
                </a:lnTo>
                <a:lnTo>
                  <a:pt x="1138848" y="249802"/>
                </a:lnTo>
                <a:lnTo>
                  <a:pt x="1109281" y="213955"/>
                </a:lnTo>
                <a:lnTo>
                  <a:pt x="1077177" y="180346"/>
                </a:lnTo>
                <a:lnTo>
                  <a:pt x="1042717" y="149158"/>
                </a:lnTo>
                <a:lnTo>
                  <a:pt x="1006047" y="120531"/>
                </a:lnTo>
                <a:lnTo>
                  <a:pt x="967314" y="94609"/>
                </a:lnTo>
                <a:lnTo>
                  <a:pt x="926665" y="71532"/>
                </a:lnTo>
                <a:lnTo>
                  <a:pt x="884246" y="51443"/>
                </a:lnTo>
                <a:lnTo>
                  <a:pt x="840205" y="34482"/>
                </a:lnTo>
                <a:lnTo>
                  <a:pt x="794688" y="20792"/>
                </a:lnTo>
                <a:lnTo>
                  <a:pt x="747841" y="10514"/>
                </a:lnTo>
                <a:lnTo>
                  <a:pt x="699812" y="3790"/>
                </a:lnTo>
                <a:lnTo>
                  <a:pt x="649985" y="725"/>
                </a:lnTo>
                <a:lnTo>
                  <a:pt x="634745" y="0"/>
                </a:lnTo>
                <a:lnTo>
                  <a:pt x="617981" y="761"/>
                </a:lnTo>
                <a:lnTo>
                  <a:pt x="569860" y="3673"/>
                </a:lnTo>
                <a:lnTo>
                  <a:pt x="522720" y="10173"/>
                </a:lnTo>
                <a:lnTo>
                  <a:pt x="476703" y="20125"/>
                </a:lnTo>
                <a:lnTo>
                  <a:pt x="431950" y="33393"/>
                </a:lnTo>
                <a:lnTo>
                  <a:pt x="388600" y="49843"/>
                </a:lnTo>
                <a:lnTo>
                  <a:pt x="346794" y="69337"/>
                </a:lnTo>
                <a:lnTo>
                  <a:pt x="306672" y="91741"/>
                </a:lnTo>
                <a:lnTo>
                  <a:pt x="268376" y="116918"/>
                </a:lnTo>
                <a:lnTo>
                  <a:pt x="232045" y="144733"/>
                </a:lnTo>
                <a:lnTo>
                  <a:pt x="197819" y="175050"/>
                </a:lnTo>
                <a:lnTo>
                  <a:pt x="165840" y="207734"/>
                </a:lnTo>
                <a:lnTo>
                  <a:pt x="136248" y="242648"/>
                </a:lnTo>
                <a:lnTo>
                  <a:pt x="109183" y="279657"/>
                </a:lnTo>
                <a:lnTo>
                  <a:pt x="84786" y="318625"/>
                </a:lnTo>
                <a:lnTo>
                  <a:pt x="63196" y="359417"/>
                </a:lnTo>
                <a:lnTo>
                  <a:pt x="44555" y="401897"/>
                </a:lnTo>
                <a:lnTo>
                  <a:pt x="29003" y="445928"/>
                </a:lnTo>
                <a:lnTo>
                  <a:pt x="16681" y="491376"/>
                </a:lnTo>
                <a:lnTo>
                  <a:pt x="7728" y="538104"/>
                </a:lnTo>
                <a:lnTo>
                  <a:pt x="2285" y="585977"/>
                </a:lnTo>
                <a:lnTo>
                  <a:pt x="761" y="618743"/>
                </a:lnTo>
                <a:lnTo>
                  <a:pt x="761" y="629792"/>
                </a:lnTo>
                <a:lnTo>
                  <a:pt x="1523" y="627887"/>
                </a:lnTo>
                <a:lnTo>
                  <a:pt x="6095" y="623315"/>
                </a:lnTo>
                <a:lnTo>
                  <a:pt x="9905" y="621791"/>
                </a:lnTo>
                <a:lnTo>
                  <a:pt x="12953" y="621791"/>
                </a:lnTo>
                <a:lnTo>
                  <a:pt x="12953" y="647699"/>
                </a:lnTo>
                <a:lnTo>
                  <a:pt x="25907" y="634745"/>
                </a:lnTo>
                <a:lnTo>
                  <a:pt x="25907" y="618743"/>
                </a:lnTo>
                <a:lnTo>
                  <a:pt x="27431" y="587501"/>
                </a:lnTo>
                <a:lnTo>
                  <a:pt x="32785" y="540726"/>
                </a:lnTo>
                <a:lnTo>
                  <a:pt x="41647" y="495098"/>
                </a:lnTo>
                <a:lnTo>
                  <a:pt x="53872" y="450753"/>
                </a:lnTo>
                <a:lnTo>
                  <a:pt x="69313" y="407829"/>
                </a:lnTo>
                <a:lnTo>
                  <a:pt x="87825" y="366463"/>
                </a:lnTo>
                <a:lnTo>
                  <a:pt x="109262" y="326790"/>
                </a:lnTo>
                <a:lnTo>
                  <a:pt x="133477" y="288949"/>
                </a:lnTo>
                <a:lnTo>
                  <a:pt x="160326" y="253076"/>
                </a:lnTo>
                <a:lnTo>
                  <a:pt x="189661" y="219307"/>
                </a:lnTo>
                <a:lnTo>
                  <a:pt x="221337" y="187780"/>
                </a:lnTo>
                <a:lnTo>
                  <a:pt x="255208" y="158632"/>
                </a:lnTo>
                <a:lnTo>
                  <a:pt x="291128" y="131999"/>
                </a:lnTo>
                <a:lnTo>
                  <a:pt x="328951" y="108018"/>
                </a:lnTo>
                <a:lnTo>
                  <a:pt x="368532" y="86826"/>
                </a:lnTo>
                <a:lnTo>
                  <a:pt x="409724" y="68560"/>
                </a:lnTo>
                <a:lnTo>
                  <a:pt x="452381" y="53357"/>
                </a:lnTo>
                <a:lnTo>
                  <a:pt x="496358" y="41353"/>
                </a:lnTo>
                <a:lnTo>
                  <a:pt x="541508" y="32686"/>
                </a:lnTo>
                <a:lnTo>
                  <a:pt x="587686" y="27491"/>
                </a:lnTo>
                <a:lnTo>
                  <a:pt x="634745" y="25907"/>
                </a:lnTo>
                <a:lnTo>
                  <a:pt x="651509" y="25946"/>
                </a:lnTo>
                <a:lnTo>
                  <a:pt x="714528" y="30999"/>
                </a:lnTo>
                <a:lnTo>
                  <a:pt x="761920" y="39088"/>
                </a:lnTo>
                <a:lnTo>
                  <a:pt x="808010" y="50785"/>
                </a:lnTo>
                <a:lnTo>
                  <a:pt x="852645" y="65935"/>
                </a:lnTo>
                <a:lnTo>
                  <a:pt x="895670" y="84386"/>
                </a:lnTo>
                <a:lnTo>
                  <a:pt x="936932" y="105984"/>
                </a:lnTo>
                <a:lnTo>
                  <a:pt x="976407" y="130673"/>
                </a:lnTo>
                <a:lnTo>
                  <a:pt x="1013549" y="158011"/>
                </a:lnTo>
                <a:lnTo>
                  <a:pt x="1048596" y="188132"/>
                </a:lnTo>
                <a:lnTo>
                  <a:pt x="1081265" y="220789"/>
                </a:lnTo>
                <a:lnTo>
                  <a:pt x="1111400" y="255828"/>
                </a:lnTo>
                <a:lnTo>
                  <a:pt x="1138882" y="293149"/>
                </a:lnTo>
                <a:lnTo>
                  <a:pt x="1163455" y="332438"/>
                </a:lnTo>
                <a:lnTo>
                  <a:pt x="1185068" y="373703"/>
                </a:lnTo>
                <a:lnTo>
                  <a:pt x="1203532" y="416737"/>
                </a:lnTo>
                <a:lnTo>
                  <a:pt x="1218693" y="461388"/>
                </a:lnTo>
                <a:lnTo>
                  <a:pt x="1230398" y="507501"/>
                </a:lnTo>
                <a:lnTo>
                  <a:pt x="1238492" y="554924"/>
                </a:lnTo>
                <a:lnTo>
                  <a:pt x="1242821" y="603503"/>
                </a:lnTo>
                <a:lnTo>
                  <a:pt x="1243583" y="618743"/>
                </a:lnTo>
                <a:lnTo>
                  <a:pt x="1243583" y="812676"/>
                </a:lnTo>
                <a:lnTo>
                  <a:pt x="1245068" y="808094"/>
                </a:lnTo>
                <a:lnTo>
                  <a:pt x="1256171" y="762372"/>
                </a:lnTo>
                <a:lnTo>
                  <a:pt x="1263850" y="715464"/>
                </a:lnTo>
                <a:lnTo>
                  <a:pt x="1267967" y="667511"/>
                </a:lnTo>
                <a:lnTo>
                  <a:pt x="1268729" y="650747"/>
                </a:lnTo>
                <a:close/>
              </a:path>
              <a:path w="1268729" h="1268729">
                <a:moveTo>
                  <a:pt x="1243583" y="812676"/>
                </a:moveTo>
                <a:lnTo>
                  <a:pt x="1243583" y="650747"/>
                </a:lnTo>
                <a:lnTo>
                  <a:pt x="1242821" y="665987"/>
                </a:lnTo>
                <a:lnTo>
                  <a:pt x="1238666" y="713069"/>
                </a:lnTo>
                <a:lnTo>
                  <a:pt x="1230991" y="759046"/>
                </a:lnTo>
                <a:lnTo>
                  <a:pt x="1219935" y="803782"/>
                </a:lnTo>
                <a:lnTo>
                  <a:pt x="1205638" y="847144"/>
                </a:lnTo>
                <a:lnTo>
                  <a:pt x="1188240" y="888995"/>
                </a:lnTo>
                <a:lnTo>
                  <a:pt x="1167880" y="929200"/>
                </a:lnTo>
                <a:lnTo>
                  <a:pt x="1144698" y="967625"/>
                </a:lnTo>
                <a:lnTo>
                  <a:pt x="1118833" y="1004133"/>
                </a:lnTo>
                <a:lnTo>
                  <a:pt x="1090425" y="1038591"/>
                </a:lnTo>
                <a:lnTo>
                  <a:pt x="1059613" y="1070862"/>
                </a:lnTo>
                <a:lnTo>
                  <a:pt x="1026537" y="1100812"/>
                </a:lnTo>
                <a:lnTo>
                  <a:pt x="991336" y="1128304"/>
                </a:lnTo>
                <a:lnTo>
                  <a:pt x="954150" y="1153206"/>
                </a:lnTo>
                <a:lnTo>
                  <a:pt x="915118" y="1175379"/>
                </a:lnTo>
                <a:lnTo>
                  <a:pt x="874381" y="1194691"/>
                </a:lnTo>
                <a:lnTo>
                  <a:pt x="832077" y="1211005"/>
                </a:lnTo>
                <a:lnTo>
                  <a:pt x="788346" y="1224187"/>
                </a:lnTo>
                <a:lnTo>
                  <a:pt x="743327" y="1234100"/>
                </a:lnTo>
                <a:lnTo>
                  <a:pt x="697160" y="1240611"/>
                </a:lnTo>
                <a:lnTo>
                  <a:pt x="651509" y="1243487"/>
                </a:lnTo>
                <a:lnTo>
                  <a:pt x="617981" y="1243534"/>
                </a:lnTo>
                <a:lnTo>
                  <a:pt x="570094" y="1240428"/>
                </a:lnTo>
                <a:lnTo>
                  <a:pt x="522503" y="1233492"/>
                </a:lnTo>
                <a:lnTo>
                  <a:pt x="476129" y="1222923"/>
                </a:lnTo>
                <a:lnTo>
                  <a:pt x="431127" y="1208871"/>
                </a:lnTo>
                <a:lnTo>
                  <a:pt x="387655" y="1191483"/>
                </a:lnTo>
                <a:lnTo>
                  <a:pt x="345868" y="1170910"/>
                </a:lnTo>
                <a:lnTo>
                  <a:pt x="305925" y="1147300"/>
                </a:lnTo>
                <a:lnTo>
                  <a:pt x="267982" y="1120801"/>
                </a:lnTo>
                <a:lnTo>
                  <a:pt x="232195" y="1091563"/>
                </a:lnTo>
                <a:lnTo>
                  <a:pt x="198722" y="1059733"/>
                </a:lnTo>
                <a:lnTo>
                  <a:pt x="167719" y="1025462"/>
                </a:lnTo>
                <a:lnTo>
                  <a:pt x="139343" y="988897"/>
                </a:lnTo>
                <a:lnTo>
                  <a:pt x="113750" y="950188"/>
                </a:lnTo>
                <a:lnTo>
                  <a:pt x="91098" y="909483"/>
                </a:lnTo>
                <a:lnTo>
                  <a:pt x="71543" y="866930"/>
                </a:lnTo>
                <a:lnTo>
                  <a:pt x="55242" y="822680"/>
                </a:lnTo>
                <a:lnTo>
                  <a:pt x="42352" y="776880"/>
                </a:lnTo>
                <a:lnTo>
                  <a:pt x="33030" y="729680"/>
                </a:lnTo>
                <a:lnTo>
                  <a:pt x="27431" y="681227"/>
                </a:lnTo>
                <a:lnTo>
                  <a:pt x="25907" y="641603"/>
                </a:lnTo>
                <a:lnTo>
                  <a:pt x="19811" y="647699"/>
                </a:lnTo>
                <a:lnTo>
                  <a:pt x="12953" y="647699"/>
                </a:lnTo>
                <a:lnTo>
                  <a:pt x="12953" y="621791"/>
                </a:lnTo>
                <a:lnTo>
                  <a:pt x="761" y="634745"/>
                </a:lnTo>
                <a:lnTo>
                  <a:pt x="761" y="651509"/>
                </a:lnTo>
                <a:lnTo>
                  <a:pt x="2285" y="683513"/>
                </a:lnTo>
                <a:lnTo>
                  <a:pt x="7795" y="732297"/>
                </a:lnTo>
                <a:lnTo>
                  <a:pt x="16968" y="779876"/>
                </a:lnTo>
                <a:lnTo>
                  <a:pt x="29652" y="826110"/>
                </a:lnTo>
                <a:lnTo>
                  <a:pt x="45694" y="870857"/>
                </a:lnTo>
                <a:lnTo>
                  <a:pt x="64942" y="913974"/>
                </a:lnTo>
                <a:lnTo>
                  <a:pt x="87244" y="955321"/>
                </a:lnTo>
                <a:lnTo>
                  <a:pt x="112447" y="994754"/>
                </a:lnTo>
                <a:lnTo>
                  <a:pt x="140399" y="1032132"/>
                </a:lnTo>
                <a:lnTo>
                  <a:pt x="170947" y="1067313"/>
                </a:lnTo>
                <a:lnTo>
                  <a:pt x="203939" y="1100156"/>
                </a:lnTo>
                <a:lnTo>
                  <a:pt x="239223" y="1130518"/>
                </a:lnTo>
                <a:lnTo>
                  <a:pt x="276646" y="1158257"/>
                </a:lnTo>
                <a:lnTo>
                  <a:pt x="316055" y="1183232"/>
                </a:lnTo>
                <a:lnTo>
                  <a:pt x="357299" y="1205300"/>
                </a:lnTo>
                <a:lnTo>
                  <a:pt x="400225" y="1224320"/>
                </a:lnTo>
                <a:lnTo>
                  <a:pt x="444680" y="1240150"/>
                </a:lnTo>
                <a:lnTo>
                  <a:pt x="490512" y="1252648"/>
                </a:lnTo>
                <a:lnTo>
                  <a:pt x="537568" y="1261672"/>
                </a:lnTo>
                <a:lnTo>
                  <a:pt x="585697" y="1267080"/>
                </a:lnTo>
                <a:lnTo>
                  <a:pt x="634745" y="1268729"/>
                </a:lnTo>
                <a:lnTo>
                  <a:pt x="651509" y="1268729"/>
                </a:lnTo>
                <a:lnTo>
                  <a:pt x="715504" y="1263874"/>
                </a:lnTo>
                <a:lnTo>
                  <a:pt x="762441" y="1256209"/>
                </a:lnTo>
                <a:lnTo>
                  <a:pt x="808182" y="1245113"/>
                </a:lnTo>
                <a:lnTo>
                  <a:pt x="852645" y="1230703"/>
                </a:lnTo>
                <a:lnTo>
                  <a:pt x="895670" y="1213114"/>
                </a:lnTo>
                <a:lnTo>
                  <a:pt x="936932" y="1192587"/>
                </a:lnTo>
                <a:lnTo>
                  <a:pt x="976407" y="1169224"/>
                </a:lnTo>
                <a:lnTo>
                  <a:pt x="1014083" y="1143078"/>
                </a:lnTo>
                <a:lnTo>
                  <a:pt x="1049727" y="1114343"/>
                </a:lnTo>
                <a:lnTo>
                  <a:pt x="1083202" y="1083159"/>
                </a:lnTo>
                <a:lnTo>
                  <a:pt x="1114367" y="1049666"/>
                </a:lnTo>
                <a:lnTo>
                  <a:pt x="1143084" y="1014006"/>
                </a:lnTo>
                <a:lnTo>
                  <a:pt x="1169213" y="976317"/>
                </a:lnTo>
                <a:lnTo>
                  <a:pt x="1192615" y="936742"/>
                </a:lnTo>
                <a:lnTo>
                  <a:pt x="1213151" y="895419"/>
                </a:lnTo>
                <a:lnTo>
                  <a:pt x="1230682" y="852490"/>
                </a:lnTo>
                <a:lnTo>
                  <a:pt x="1243583" y="812676"/>
                </a:lnTo>
                <a:close/>
              </a:path>
              <a:path w="1268729" h="1268729">
                <a:moveTo>
                  <a:pt x="25907" y="641603"/>
                </a:moveTo>
                <a:lnTo>
                  <a:pt x="25907" y="634745"/>
                </a:lnTo>
                <a:lnTo>
                  <a:pt x="12953" y="647699"/>
                </a:lnTo>
                <a:lnTo>
                  <a:pt x="19811" y="647699"/>
                </a:lnTo>
                <a:lnTo>
                  <a:pt x="25907" y="641603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1" name="object 14">
            <a:extLst>
              <a:ext uri="{FF2B5EF4-FFF2-40B4-BE49-F238E27FC236}">
                <a16:creationId xmlns:a16="http://schemas.microsoft.com/office/drawing/2014/main" id="{1B111FD1-A4B3-4923-B03A-63A6A686DE34}"/>
              </a:ext>
            </a:extLst>
          </p:cNvPr>
          <p:cNvSpPr/>
          <p:nvPr/>
        </p:nvSpPr>
        <p:spPr>
          <a:xfrm>
            <a:off x="4100435" y="3391830"/>
            <a:ext cx="1268095" cy="1268730"/>
          </a:xfrm>
          <a:custGeom>
            <a:avLst/>
            <a:gdLst/>
            <a:ahLst/>
            <a:cxnLst/>
            <a:rect l="l" t="t" r="r" b="b"/>
            <a:pathLst>
              <a:path w="1268095" h="1268729">
                <a:moveTo>
                  <a:pt x="1267968" y="650748"/>
                </a:moveTo>
                <a:lnTo>
                  <a:pt x="1267968" y="617982"/>
                </a:lnTo>
                <a:lnTo>
                  <a:pt x="1266444" y="585978"/>
                </a:lnTo>
                <a:lnTo>
                  <a:pt x="1260998" y="538014"/>
                </a:lnTo>
                <a:lnTo>
                  <a:pt x="1252046" y="491222"/>
                </a:lnTo>
                <a:lnTo>
                  <a:pt x="1239727" y="445735"/>
                </a:lnTo>
                <a:lnTo>
                  <a:pt x="1224182" y="401684"/>
                </a:lnTo>
                <a:lnTo>
                  <a:pt x="1205551" y="359205"/>
                </a:lnTo>
                <a:lnTo>
                  <a:pt x="1183972" y="318428"/>
                </a:lnTo>
                <a:lnTo>
                  <a:pt x="1159587" y="279487"/>
                </a:lnTo>
                <a:lnTo>
                  <a:pt x="1132534" y="242514"/>
                </a:lnTo>
                <a:lnTo>
                  <a:pt x="1102954" y="207643"/>
                </a:lnTo>
                <a:lnTo>
                  <a:pt x="1070986" y="175007"/>
                </a:lnTo>
                <a:lnTo>
                  <a:pt x="1036770" y="144738"/>
                </a:lnTo>
                <a:lnTo>
                  <a:pt x="1000446" y="116969"/>
                </a:lnTo>
                <a:lnTo>
                  <a:pt x="962155" y="91833"/>
                </a:lnTo>
                <a:lnTo>
                  <a:pt x="922034" y="69463"/>
                </a:lnTo>
                <a:lnTo>
                  <a:pt x="880226" y="49991"/>
                </a:lnTo>
                <a:lnTo>
                  <a:pt x="836868" y="33551"/>
                </a:lnTo>
                <a:lnTo>
                  <a:pt x="792102" y="20275"/>
                </a:lnTo>
                <a:lnTo>
                  <a:pt x="746066" y="10296"/>
                </a:lnTo>
                <a:lnTo>
                  <a:pt x="698902" y="3747"/>
                </a:lnTo>
                <a:lnTo>
                  <a:pt x="650748" y="762"/>
                </a:lnTo>
                <a:lnTo>
                  <a:pt x="633984" y="0"/>
                </a:lnTo>
                <a:lnTo>
                  <a:pt x="617220" y="762"/>
                </a:lnTo>
                <a:lnTo>
                  <a:pt x="569104" y="3694"/>
                </a:lnTo>
                <a:lnTo>
                  <a:pt x="521972" y="10207"/>
                </a:lnTo>
                <a:lnTo>
                  <a:pt x="475963" y="20165"/>
                </a:lnTo>
                <a:lnTo>
                  <a:pt x="431217" y="33435"/>
                </a:lnTo>
                <a:lnTo>
                  <a:pt x="387875" y="49880"/>
                </a:lnTo>
                <a:lnTo>
                  <a:pt x="346077" y="69367"/>
                </a:lnTo>
                <a:lnTo>
                  <a:pt x="305964" y="91759"/>
                </a:lnTo>
                <a:lnTo>
                  <a:pt x="267674" y="116923"/>
                </a:lnTo>
                <a:lnTo>
                  <a:pt x="231349" y="144724"/>
                </a:lnTo>
                <a:lnTo>
                  <a:pt x="197129" y="175026"/>
                </a:lnTo>
                <a:lnTo>
                  <a:pt x="165153" y="207695"/>
                </a:lnTo>
                <a:lnTo>
                  <a:pt x="135563" y="242597"/>
                </a:lnTo>
                <a:lnTo>
                  <a:pt x="108498" y="279595"/>
                </a:lnTo>
                <a:lnTo>
                  <a:pt x="84098" y="318556"/>
                </a:lnTo>
                <a:lnTo>
                  <a:pt x="62504" y="359344"/>
                </a:lnTo>
                <a:lnTo>
                  <a:pt x="43855" y="401825"/>
                </a:lnTo>
                <a:lnTo>
                  <a:pt x="28293" y="445863"/>
                </a:lnTo>
                <a:lnTo>
                  <a:pt x="15957" y="491325"/>
                </a:lnTo>
                <a:lnTo>
                  <a:pt x="6987" y="538075"/>
                </a:lnTo>
                <a:lnTo>
                  <a:pt x="1523" y="585978"/>
                </a:lnTo>
                <a:lnTo>
                  <a:pt x="0" y="618744"/>
                </a:lnTo>
                <a:lnTo>
                  <a:pt x="0" y="651510"/>
                </a:lnTo>
                <a:lnTo>
                  <a:pt x="3048" y="699516"/>
                </a:lnTo>
                <a:lnTo>
                  <a:pt x="9931" y="748355"/>
                </a:lnTo>
                <a:lnTo>
                  <a:pt x="20409" y="795844"/>
                </a:lnTo>
                <a:lnTo>
                  <a:pt x="25146" y="811499"/>
                </a:lnTo>
                <a:lnTo>
                  <a:pt x="25146" y="618744"/>
                </a:lnTo>
                <a:lnTo>
                  <a:pt x="26669" y="587502"/>
                </a:lnTo>
                <a:lnTo>
                  <a:pt x="32298" y="540493"/>
                </a:lnTo>
                <a:lnTo>
                  <a:pt x="41352" y="494701"/>
                </a:lnTo>
                <a:lnTo>
                  <a:pt x="53694" y="450255"/>
                </a:lnTo>
                <a:lnTo>
                  <a:pt x="69187" y="407284"/>
                </a:lnTo>
                <a:lnTo>
                  <a:pt x="87694" y="365918"/>
                </a:lnTo>
                <a:lnTo>
                  <a:pt x="109078" y="326285"/>
                </a:lnTo>
                <a:lnTo>
                  <a:pt x="133204" y="288516"/>
                </a:lnTo>
                <a:lnTo>
                  <a:pt x="159933" y="252739"/>
                </a:lnTo>
                <a:lnTo>
                  <a:pt x="189129" y="219084"/>
                </a:lnTo>
                <a:lnTo>
                  <a:pt x="220656" y="187680"/>
                </a:lnTo>
                <a:lnTo>
                  <a:pt x="254376" y="158657"/>
                </a:lnTo>
                <a:lnTo>
                  <a:pt x="290152" y="132143"/>
                </a:lnTo>
                <a:lnTo>
                  <a:pt x="327848" y="108269"/>
                </a:lnTo>
                <a:lnTo>
                  <a:pt x="367328" y="87163"/>
                </a:lnTo>
                <a:lnTo>
                  <a:pt x="408453" y="68955"/>
                </a:lnTo>
                <a:lnTo>
                  <a:pt x="451088" y="53774"/>
                </a:lnTo>
                <a:lnTo>
                  <a:pt x="495095" y="41749"/>
                </a:lnTo>
                <a:lnTo>
                  <a:pt x="540338" y="33010"/>
                </a:lnTo>
                <a:lnTo>
                  <a:pt x="586680" y="27687"/>
                </a:lnTo>
                <a:lnTo>
                  <a:pt x="633984" y="25908"/>
                </a:lnTo>
                <a:lnTo>
                  <a:pt x="650748" y="25944"/>
                </a:lnTo>
                <a:lnTo>
                  <a:pt x="714453" y="31049"/>
                </a:lnTo>
                <a:lnTo>
                  <a:pt x="761779" y="39184"/>
                </a:lnTo>
                <a:lnTo>
                  <a:pt x="807813" y="50921"/>
                </a:lnTo>
                <a:lnTo>
                  <a:pt x="852398" y="66108"/>
                </a:lnTo>
                <a:lnTo>
                  <a:pt x="895380" y="84589"/>
                </a:lnTo>
                <a:lnTo>
                  <a:pt x="936604" y="106214"/>
                </a:lnTo>
                <a:lnTo>
                  <a:pt x="975916" y="130827"/>
                </a:lnTo>
                <a:lnTo>
                  <a:pt x="1013159" y="158275"/>
                </a:lnTo>
                <a:lnTo>
                  <a:pt x="1048180" y="188406"/>
                </a:lnTo>
                <a:lnTo>
                  <a:pt x="1080824" y="221066"/>
                </a:lnTo>
                <a:lnTo>
                  <a:pt x="1110934" y="256102"/>
                </a:lnTo>
                <a:lnTo>
                  <a:pt x="1138357" y="293359"/>
                </a:lnTo>
                <a:lnTo>
                  <a:pt x="1162943" y="332694"/>
                </a:lnTo>
                <a:lnTo>
                  <a:pt x="1184522" y="373928"/>
                </a:lnTo>
                <a:lnTo>
                  <a:pt x="1202954" y="416932"/>
                </a:lnTo>
                <a:lnTo>
                  <a:pt x="1218078" y="461545"/>
                </a:lnTo>
                <a:lnTo>
                  <a:pt x="1229740" y="507613"/>
                </a:lnTo>
                <a:lnTo>
                  <a:pt x="1237786" y="554984"/>
                </a:lnTo>
                <a:lnTo>
                  <a:pt x="1242060" y="603504"/>
                </a:lnTo>
                <a:lnTo>
                  <a:pt x="1242822" y="618744"/>
                </a:lnTo>
                <a:lnTo>
                  <a:pt x="1242822" y="812188"/>
                </a:lnTo>
                <a:lnTo>
                  <a:pt x="1248777" y="792028"/>
                </a:lnTo>
                <a:lnTo>
                  <a:pt x="1258682" y="745991"/>
                </a:lnTo>
                <a:lnTo>
                  <a:pt x="1265124" y="698850"/>
                </a:lnTo>
                <a:lnTo>
                  <a:pt x="1267968" y="650748"/>
                </a:lnTo>
                <a:close/>
              </a:path>
              <a:path w="1268095" h="1268729">
                <a:moveTo>
                  <a:pt x="1242822" y="812188"/>
                </a:moveTo>
                <a:lnTo>
                  <a:pt x="1242822" y="650748"/>
                </a:lnTo>
                <a:lnTo>
                  <a:pt x="1242060" y="665988"/>
                </a:lnTo>
                <a:lnTo>
                  <a:pt x="1237861" y="714414"/>
                </a:lnTo>
                <a:lnTo>
                  <a:pt x="1229856" y="761730"/>
                </a:lnTo>
                <a:lnTo>
                  <a:pt x="1218203" y="807778"/>
                </a:lnTo>
                <a:lnTo>
                  <a:pt x="1203060" y="852399"/>
                </a:lnTo>
                <a:lnTo>
                  <a:pt x="1184522" y="895560"/>
                </a:lnTo>
                <a:lnTo>
                  <a:pt x="1162938" y="936735"/>
                </a:lnTo>
                <a:lnTo>
                  <a:pt x="1138285" y="976120"/>
                </a:lnTo>
                <a:lnTo>
                  <a:pt x="1110774" y="1013450"/>
                </a:lnTo>
                <a:lnTo>
                  <a:pt x="1080568" y="1048563"/>
                </a:lnTo>
                <a:lnTo>
                  <a:pt x="1047826" y="1081298"/>
                </a:lnTo>
                <a:lnTo>
                  <a:pt x="1012706" y="1111498"/>
                </a:lnTo>
                <a:lnTo>
                  <a:pt x="975368" y="1139004"/>
                </a:lnTo>
                <a:lnTo>
                  <a:pt x="935970" y="1163659"/>
                </a:lnTo>
                <a:lnTo>
                  <a:pt x="894671" y="1185302"/>
                </a:lnTo>
                <a:lnTo>
                  <a:pt x="851631" y="1203777"/>
                </a:lnTo>
                <a:lnTo>
                  <a:pt x="807007" y="1218925"/>
                </a:lnTo>
                <a:lnTo>
                  <a:pt x="760959" y="1230587"/>
                </a:lnTo>
                <a:lnTo>
                  <a:pt x="713646" y="1238606"/>
                </a:lnTo>
                <a:lnTo>
                  <a:pt x="665226" y="1242822"/>
                </a:lnTo>
                <a:lnTo>
                  <a:pt x="633984" y="1243584"/>
                </a:lnTo>
                <a:lnTo>
                  <a:pt x="585287" y="1241784"/>
                </a:lnTo>
                <a:lnTo>
                  <a:pt x="537538" y="1236153"/>
                </a:lnTo>
                <a:lnTo>
                  <a:pt x="490900" y="1226835"/>
                </a:lnTo>
                <a:lnTo>
                  <a:pt x="445536" y="1213978"/>
                </a:lnTo>
                <a:lnTo>
                  <a:pt x="401606" y="1197730"/>
                </a:lnTo>
                <a:lnTo>
                  <a:pt x="359274" y="1178237"/>
                </a:lnTo>
                <a:lnTo>
                  <a:pt x="318702" y="1155647"/>
                </a:lnTo>
                <a:lnTo>
                  <a:pt x="280053" y="1130105"/>
                </a:lnTo>
                <a:lnTo>
                  <a:pt x="243487" y="1101761"/>
                </a:lnTo>
                <a:lnTo>
                  <a:pt x="209169" y="1070759"/>
                </a:lnTo>
                <a:lnTo>
                  <a:pt x="177260" y="1037249"/>
                </a:lnTo>
                <a:lnTo>
                  <a:pt x="147922" y="1001376"/>
                </a:lnTo>
                <a:lnTo>
                  <a:pt x="121318" y="963287"/>
                </a:lnTo>
                <a:lnTo>
                  <a:pt x="97610" y="923130"/>
                </a:lnTo>
                <a:lnTo>
                  <a:pt x="76961" y="881052"/>
                </a:lnTo>
                <a:lnTo>
                  <a:pt x="59532" y="837200"/>
                </a:lnTo>
                <a:lnTo>
                  <a:pt x="45487" y="791720"/>
                </a:lnTo>
                <a:lnTo>
                  <a:pt x="34986" y="744760"/>
                </a:lnTo>
                <a:lnTo>
                  <a:pt x="28194" y="696468"/>
                </a:lnTo>
                <a:lnTo>
                  <a:pt x="25146" y="649986"/>
                </a:lnTo>
                <a:lnTo>
                  <a:pt x="25146" y="811499"/>
                </a:lnTo>
                <a:lnTo>
                  <a:pt x="51538" y="886238"/>
                </a:lnTo>
                <a:lnTo>
                  <a:pt x="71886" y="928880"/>
                </a:lnTo>
                <a:lnTo>
                  <a:pt x="95222" y="969641"/>
                </a:lnTo>
                <a:lnTo>
                  <a:pt x="121393" y="1008389"/>
                </a:lnTo>
                <a:lnTo>
                  <a:pt x="150249" y="1044992"/>
                </a:lnTo>
                <a:lnTo>
                  <a:pt x="181637" y="1079318"/>
                </a:lnTo>
                <a:lnTo>
                  <a:pt x="215407" y="1111234"/>
                </a:lnTo>
                <a:lnTo>
                  <a:pt x="251407" y="1140607"/>
                </a:lnTo>
                <a:lnTo>
                  <a:pt x="289485" y="1167306"/>
                </a:lnTo>
                <a:lnTo>
                  <a:pt x="329490" y="1191198"/>
                </a:lnTo>
                <a:lnTo>
                  <a:pt x="371270" y="1212151"/>
                </a:lnTo>
                <a:lnTo>
                  <a:pt x="414674" y="1230032"/>
                </a:lnTo>
                <a:lnTo>
                  <a:pt x="459550" y="1244709"/>
                </a:lnTo>
                <a:lnTo>
                  <a:pt x="505747" y="1256049"/>
                </a:lnTo>
                <a:lnTo>
                  <a:pt x="553113" y="1263921"/>
                </a:lnTo>
                <a:lnTo>
                  <a:pt x="601497" y="1268192"/>
                </a:lnTo>
                <a:lnTo>
                  <a:pt x="650748" y="1268730"/>
                </a:lnTo>
                <a:lnTo>
                  <a:pt x="682752" y="1267206"/>
                </a:lnTo>
                <a:lnTo>
                  <a:pt x="730656" y="1261809"/>
                </a:lnTo>
                <a:lnTo>
                  <a:pt x="777416" y="1252879"/>
                </a:lnTo>
                <a:lnTo>
                  <a:pt x="822895" y="1240558"/>
                </a:lnTo>
                <a:lnTo>
                  <a:pt x="866958" y="1224988"/>
                </a:lnTo>
                <a:lnTo>
                  <a:pt x="909467" y="1206313"/>
                </a:lnTo>
                <a:lnTo>
                  <a:pt x="950287" y="1184676"/>
                </a:lnTo>
                <a:lnTo>
                  <a:pt x="989281" y="1160219"/>
                </a:lnTo>
                <a:lnTo>
                  <a:pt x="1026312" y="1133086"/>
                </a:lnTo>
                <a:lnTo>
                  <a:pt x="1061244" y="1103419"/>
                </a:lnTo>
                <a:lnTo>
                  <a:pt x="1093941" y="1071362"/>
                </a:lnTo>
                <a:lnTo>
                  <a:pt x="1124266" y="1037057"/>
                </a:lnTo>
                <a:lnTo>
                  <a:pt x="1152084" y="1000647"/>
                </a:lnTo>
                <a:lnTo>
                  <a:pt x="1177257" y="962275"/>
                </a:lnTo>
                <a:lnTo>
                  <a:pt x="1199649" y="922084"/>
                </a:lnTo>
                <a:lnTo>
                  <a:pt x="1219124" y="880218"/>
                </a:lnTo>
                <a:lnTo>
                  <a:pt x="1235545" y="836818"/>
                </a:lnTo>
                <a:lnTo>
                  <a:pt x="1242822" y="812188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15">
            <a:extLst>
              <a:ext uri="{FF2B5EF4-FFF2-40B4-BE49-F238E27FC236}">
                <a16:creationId xmlns:a16="http://schemas.microsoft.com/office/drawing/2014/main" id="{EF8D7280-AC37-4EC2-BEA6-FADAF9ADE1C9}"/>
              </a:ext>
            </a:extLst>
          </p:cNvPr>
          <p:cNvSpPr/>
          <p:nvPr/>
        </p:nvSpPr>
        <p:spPr>
          <a:xfrm>
            <a:off x="5818745" y="5168815"/>
            <a:ext cx="1243330" cy="1243330"/>
          </a:xfrm>
          <a:custGeom>
            <a:avLst/>
            <a:gdLst/>
            <a:ahLst/>
            <a:cxnLst/>
            <a:rect l="l" t="t" r="r" b="b"/>
            <a:pathLst>
              <a:path w="1243329" h="1243329">
                <a:moveTo>
                  <a:pt x="1242822" y="621030"/>
                </a:moveTo>
                <a:lnTo>
                  <a:pt x="1240952" y="572507"/>
                </a:lnTo>
                <a:lnTo>
                  <a:pt x="1235437" y="525005"/>
                </a:lnTo>
                <a:lnTo>
                  <a:pt x="1226413" y="478660"/>
                </a:lnTo>
                <a:lnTo>
                  <a:pt x="1214018" y="433611"/>
                </a:lnTo>
                <a:lnTo>
                  <a:pt x="1198390" y="389996"/>
                </a:lnTo>
                <a:lnTo>
                  <a:pt x="1179667" y="347954"/>
                </a:lnTo>
                <a:lnTo>
                  <a:pt x="1157985" y="307622"/>
                </a:lnTo>
                <a:lnTo>
                  <a:pt x="1133484" y="269139"/>
                </a:lnTo>
                <a:lnTo>
                  <a:pt x="1106301" y="232643"/>
                </a:lnTo>
                <a:lnTo>
                  <a:pt x="1076574" y="198272"/>
                </a:lnTo>
                <a:lnTo>
                  <a:pt x="1044439" y="166165"/>
                </a:lnTo>
                <a:lnTo>
                  <a:pt x="1010036" y="136460"/>
                </a:lnTo>
                <a:lnTo>
                  <a:pt x="973502" y="109294"/>
                </a:lnTo>
                <a:lnTo>
                  <a:pt x="934973" y="84807"/>
                </a:lnTo>
                <a:lnTo>
                  <a:pt x="894590" y="63137"/>
                </a:lnTo>
                <a:lnTo>
                  <a:pt x="852488" y="44421"/>
                </a:lnTo>
                <a:lnTo>
                  <a:pt x="808806" y="28798"/>
                </a:lnTo>
                <a:lnTo>
                  <a:pt x="763681" y="16406"/>
                </a:lnTo>
                <a:lnTo>
                  <a:pt x="717252" y="7383"/>
                </a:lnTo>
                <a:lnTo>
                  <a:pt x="669655" y="1869"/>
                </a:lnTo>
                <a:lnTo>
                  <a:pt x="621030" y="0"/>
                </a:lnTo>
                <a:lnTo>
                  <a:pt x="572507" y="1869"/>
                </a:lnTo>
                <a:lnTo>
                  <a:pt x="525005" y="7383"/>
                </a:lnTo>
                <a:lnTo>
                  <a:pt x="478660" y="16406"/>
                </a:lnTo>
                <a:lnTo>
                  <a:pt x="433611" y="28798"/>
                </a:lnTo>
                <a:lnTo>
                  <a:pt x="389996" y="44421"/>
                </a:lnTo>
                <a:lnTo>
                  <a:pt x="347954" y="63137"/>
                </a:lnTo>
                <a:lnTo>
                  <a:pt x="307622" y="84807"/>
                </a:lnTo>
                <a:lnTo>
                  <a:pt x="269139" y="109294"/>
                </a:lnTo>
                <a:lnTo>
                  <a:pt x="232643" y="136460"/>
                </a:lnTo>
                <a:lnTo>
                  <a:pt x="198272" y="166165"/>
                </a:lnTo>
                <a:lnTo>
                  <a:pt x="166165" y="198272"/>
                </a:lnTo>
                <a:lnTo>
                  <a:pt x="136460" y="232643"/>
                </a:lnTo>
                <a:lnTo>
                  <a:pt x="109294" y="269139"/>
                </a:lnTo>
                <a:lnTo>
                  <a:pt x="84807" y="307622"/>
                </a:lnTo>
                <a:lnTo>
                  <a:pt x="63137" y="347954"/>
                </a:lnTo>
                <a:lnTo>
                  <a:pt x="44421" y="389996"/>
                </a:lnTo>
                <a:lnTo>
                  <a:pt x="28798" y="433611"/>
                </a:lnTo>
                <a:lnTo>
                  <a:pt x="16406" y="478660"/>
                </a:lnTo>
                <a:lnTo>
                  <a:pt x="7383" y="525005"/>
                </a:lnTo>
                <a:lnTo>
                  <a:pt x="1869" y="572507"/>
                </a:lnTo>
                <a:lnTo>
                  <a:pt x="0" y="621030"/>
                </a:lnTo>
                <a:lnTo>
                  <a:pt x="1869" y="669655"/>
                </a:lnTo>
                <a:lnTo>
                  <a:pt x="7383" y="717252"/>
                </a:lnTo>
                <a:lnTo>
                  <a:pt x="16406" y="763681"/>
                </a:lnTo>
                <a:lnTo>
                  <a:pt x="28798" y="808806"/>
                </a:lnTo>
                <a:lnTo>
                  <a:pt x="44421" y="852488"/>
                </a:lnTo>
                <a:lnTo>
                  <a:pt x="63137" y="894590"/>
                </a:lnTo>
                <a:lnTo>
                  <a:pt x="84807" y="934974"/>
                </a:lnTo>
                <a:lnTo>
                  <a:pt x="109294" y="973502"/>
                </a:lnTo>
                <a:lnTo>
                  <a:pt x="136460" y="1010036"/>
                </a:lnTo>
                <a:lnTo>
                  <a:pt x="166165" y="1044439"/>
                </a:lnTo>
                <a:lnTo>
                  <a:pt x="198272" y="1076574"/>
                </a:lnTo>
                <a:lnTo>
                  <a:pt x="232643" y="1106301"/>
                </a:lnTo>
                <a:lnTo>
                  <a:pt x="269139" y="1133484"/>
                </a:lnTo>
                <a:lnTo>
                  <a:pt x="307622" y="1157986"/>
                </a:lnTo>
                <a:lnTo>
                  <a:pt x="347954" y="1179667"/>
                </a:lnTo>
                <a:lnTo>
                  <a:pt x="389996" y="1198390"/>
                </a:lnTo>
                <a:lnTo>
                  <a:pt x="433611" y="1214018"/>
                </a:lnTo>
                <a:lnTo>
                  <a:pt x="478660" y="1226413"/>
                </a:lnTo>
                <a:lnTo>
                  <a:pt x="525005" y="1235437"/>
                </a:lnTo>
                <a:lnTo>
                  <a:pt x="572507" y="1240952"/>
                </a:lnTo>
                <a:lnTo>
                  <a:pt x="621030" y="1242822"/>
                </a:lnTo>
                <a:lnTo>
                  <a:pt x="669655" y="1240952"/>
                </a:lnTo>
                <a:lnTo>
                  <a:pt x="717252" y="1235437"/>
                </a:lnTo>
                <a:lnTo>
                  <a:pt x="763681" y="1226413"/>
                </a:lnTo>
                <a:lnTo>
                  <a:pt x="808806" y="1214018"/>
                </a:lnTo>
                <a:lnTo>
                  <a:pt x="852488" y="1198390"/>
                </a:lnTo>
                <a:lnTo>
                  <a:pt x="894590" y="1179667"/>
                </a:lnTo>
                <a:lnTo>
                  <a:pt x="934973" y="1157986"/>
                </a:lnTo>
                <a:lnTo>
                  <a:pt x="973502" y="1133484"/>
                </a:lnTo>
                <a:lnTo>
                  <a:pt x="1010036" y="1106301"/>
                </a:lnTo>
                <a:lnTo>
                  <a:pt x="1044439" y="1076574"/>
                </a:lnTo>
                <a:lnTo>
                  <a:pt x="1076574" y="1044439"/>
                </a:lnTo>
                <a:lnTo>
                  <a:pt x="1106301" y="1010036"/>
                </a:lnTo>
                <a:lnTo>
                  <a:pt x="1133484" y="973502"/>
                </a:lnTo>
                <a:lnTo>
                  <a:pt x="1157985" y="934974"/>
                </a:lnTo>
                <a:lnTo>
                  <a:pt x="1179667" y="894590"/>
                </a:lnTo>
                <a:lnTo>
                  <a:pt x="1198390" y="852488"/>
                </a:lnTo>
                <a:lnTo>
                  <a:pt x="1214018" y="808806"/>
                </a:lnTo>
                <a:lnTo>
                  <a:pt x="1226413" y="763681"/>
                </a:lnTo>
                <a:lnTo>
                  <a:pt x="1235437" y="717252"/>
                </a:lnTo>
                <a:lnTo>
                  <a:pt x="1240952" y="669655"/>
                </a:lnTo>
                <a:lnTo>
                  <a:pt x="1242822" y="621030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16">
            <a:extLst>
              <a:ext uri="{FF2B5EF4-FFF2-40B4-BE49-F238E27FC236}">
                <a16:creationId xmlns:a16="http://schemas.microsoft.com/office/drawing/2014/main" id="{F779325B-4CC9-4481-A282-470A924FA454}"/>
              </a:ext>
            </a:extLst>
          </p:cNvPr>
          <p:cNvSpPr/>
          <p:nvPr/>
        </p:nvSpPr>
        <p:spPr>
          <a:xfrm>
            <a:off x="5769711" y="5166666"/>
            <a:ext cx="1268730" cy="1268730"/>
          </a:xfrm>
          <a:custGeom>
            <a:avLst/>
            <a:gdLst/>
            <a:ahLst/>
            <a:cxnLst/>
            <a:rect l="l" t="t" r="r" b="b"/>
            <a:pathLst>
              <a:path w="1268729" h="1268729">
                <a:moveTo>
                  <a:pt x="1268730" y="650747"/>
                </a:moveTo>
                <a:lnTo>
                  <a:pt x="1268730" y="633983"/>
                </a:lnTo>
                <a:lnTo>
                  <a:pt x="1267968" y="617981"/>
                </a:lnTo>
                <a:lnTo>
                  <a:pt x="1267968" y="601217"/>
                </a:lnTo>
                <a:lnTo>
                  <a:pt x="1263364" y="552078"/>
                </a:lnTo>
                <a:lnTo>
                  <a:pt x="1255167" y="504135"/>
                </a:lnTo>
                <a:lnTo>
                  <a:pt x="1243515" y="457522"/>
                </a:lnTo>
                <a:lnTo>
                  <a:pt x="1228546" y="412376"/>
                </a:lnTo>
                <a:lnTo>
                  <a:pt x="1210398" y="368831"/>
                </a:lnTo>
                <a:lnTo>
                  <a:pt x="1189209" y="327024"/>
                </a:lnTo>
                <a:lnTo>
                  <a:pt x="1165118" y="287090"/>
                </a:lnTo>
                <a:lnTo>
                  <a:pt x="1138264" y="249164"/>
                </a:lnTo>
                <a:lnTo>
                  <a:pt x="1108783" y="213382"/>
                </a:lnTo>
                <a:lnTo>
                  <a:pt x="1076815" y="179879"/>
                </a:lnTo>
                <a:lnTo>
                  <a:pt x="1042498" y="148791"/>
                </a:lnTo>
                <a:lnTo>
                  <a:pt x="1005970" y="120252"/>
                </a:lnTo>
                <a:lnTo>
                  <a:pt x="967369" y="94399"/>
                </a:lnTo>
                <a:lnTo>
                  <a:pt x="926834" y="71367"/>
                </a:lnTo>
                <a:lnTo>
                  <a:pt x="884504" y="51292"/>
                </a:lnTo>
                <a:lnTo>
                  <a:pt x="840515" y="34308"/>
                </a:lnTo>
                <a:lnTo>
                  <a:pt x="795007" y="20551"/>
                </a:lnTo>
                <a:lnTo>
                  <a:pt x="748117" y="10157"/>
                </a:lnTo>
                <a:lnTo>
                  <a:pt x="699985" y="3262"/>
                </a:lnTo>
                <a:lnTo>
                  <a:pt x="650748" y="0"/>
                </a:lnTo>
                <a:lnTo>
                  <a:pt x="617982" y="0"/>
                </a:lnTo>
                <a:lnTo>
                  <a:pt x="569964" y="2971"/>
                </a:lnTo>
                <a:lnTo>
                  <a:pt x="522879" y="9529"/>
                </a:lnTo>
                <a:lnTo>
                  <a:pt x="476874" y="19536"/>
                </a:lnTo>
                <a:lnTo>
                  <a:pt x="432095" y="32858"/>
                </a:lnTo>
                <a:lnTo>
                  <a:pt x="388689" y="49359"/>
                </a:lnTo>
                <a:lnTo>
                  <a:pt x="346803" y="68902"/>
                </a:lnTo>
                <a:lnTo>
                  <a:pt x="306585" y="91352"/>
                </a:lnTo>
                <a:lnTo>
                  <a:pt x="268180" y="116574"/>
                </a:lnTo>
                <a:lnTo>
                  <a:pt x="231736" y="144431"/>
                </a:lnTo>
                <a:lnTo>
                  <a:pt x="197400" y="174788"/>
                </a:lnTo>
                <a:lnTo>
                  <a:pt x="165319" y="207509"/>
                </a:lnTo>
                <a:lnTo>
                  <a:pt x="135639" y="242458"/>
                </a:lnTo>
                <a:lnTo>
                  <a:pt x="108508" y="279500"/>
                </a:lnTo>
                <a:lnTo>
                  <a:pt x="84072" y="318498"/>
                </a:lnTo>
                <a:lnTo>
                  <a:pt x="62478" y="359318"/>
                </a:lnTo>
                <a:lnTo>
                  <a:pt x="43874" y="401822"/>
                </a:lnTo>
                <a:lnTo>
                  <a:pt x="28405" y="445876"/>
                </a:lnTo>
                <a:lnTo>
                  <a:pt x="16220" y="491344"/>
                </a:lnTo>
                <a:lnTo>
                  <a:pt x="7459" y="538138"/>
                </a:lnTo>
                <a:lnTo>
                  <a:pt x="2286" y="585977"/>
                </a:lnTo>
                <a:lnTo>
                  <a:pt x="0" y="617981"/>
                </a:lnTo>
                <a:lnTo>
                  <a:pt x="0" y="629411"/>
                </a:lnTo>
                <a:lnTo>
                  <a:pt x="3048" y="624839"/>
                </a:lnTo>
                <a:lnTo>
                  <a:pt x="12192" y="620267"/>
                </a:lnTo>
                <a:lnTo>
                  <a:pt x="18288" y="621791"/>
                </a:lnTo>
                <a:lnTo>
                  <a:pt x="22098" y="625601"/>
                </a:lnTo>
                <a:lnTo>
                  <a:pt x="22098" y="635290"/>
                </a:lnTo>
                <a:lnTo>
                  <a:pt x="25146" y="633983"/>
                </a:lnTo>
                <a:lnTo>
                  <a:pt x="25146" y="634745"/>
                </a:lnTo>
                <a:lnTo>
                  <a:pt x="25908" y="618743"/>
                </a:lnTo>
                <a:lnTo>
                  <a:pt x="25908" y="602741"/>
                </a:lnTo>
                <a:lnTo>
                  <a:pt x="27432" y="587501"/>
                </a:lnTo>
                <a:lnTo>
                  <a:pt x="32850" y="540375"/>
                </a:lnTo>
                <a:lnTo>
                  <a:pt x="41736" y="494493"/>
                </a:lnTo>
                <a:lnTo>
                  <a:pt x="53949" y="449982"/>
                </a:lnTo>
                <a:lnTo>
                  <a:pt x="69349" y="406967"/>
                </a:lnTo>
                <a:lnTo>
                  <a:pt x="87795" y="365576"/>
                </a:lnTo>
                <a:lnTo>
                  <a:pt x="109148" y="325933"/>
                </a:lnTo>
                <a:lnTo>
                  <a:pt x="133266" y="288165"/>
                </a:lnTo>
                <a:lnTo>
                  <a:pt x="160011" y="252398"/>
                </a:lnTo>
                <a:lnTo>
                  <a:pt x="189241" y="218758"/>
                </a:lnTo>
                <a:lnTo>
                  <a:pt x="220818" y="187371"/>
                </a:lnTo>
                <a:lnTo>
                  <a:pt x="254599" y="158363"/>
                </a:lnTo>
                <a:lnTo>
                  <a:pt x="290446" y="131860"/>
                </a:lnTo>
                <a:lnTo>
                  <a:pt x="328218" y="107988"/>
                </a:lnTo>
                <a:lnTo>
                  <a:pt x="367774" y="86873"/>
                </a:lnTo>
                <a:lnTo>
                  <a:pt x="408976" y="68642"/>
                </a:lnTo>
                <a:lnTo>
                  <a:pt x="451681" y="53420"/>
                </a:lnTo>
                <a:lnTo>
                  <a:pt x="495751" y="41333"/>
                </a:lnTo>
                <a:lnTo>
                  <a:pt x="541046" y="32508"/>
                </a:lnTo>
                <a:lnTo>
                  <a:pt x="587424" y="27070"/>
                </a:lnTo>
                <a:lnTo>
                  <a:pt x="634746" y="25145"/>
                </a:lnTo>
                <a:lnTo>
                  <a:pt x="649986" y="25907"/>
                </a:lnTo>
                <a:lnTo>
                  <a:pt x="666750" y="25980"/>
                </a:lnTo>
                <a:lnTo>
                  <a:pt x="714720" y="30537"/>
                </a:lnTo>
                <a:lnTo>
                  <a:pt x="762251" y="38858"/>
                </a:lnTo>
                <a:lnTo>
                  <a:pt x="808432" y="50724"/>
                </a:lnTo>
                <a:lnTo>
                  <a:pt x="853113" y="65989"/>
                </a:lnTo>
                <a:lnTo>
                  <a:pt x="896146" y="84507"/>
                </a:lnTo>
                <a:lnTo>
                  <a:pt x="937382" y="106132"/>
                </a:lnTo>
                <a:lnTo>
                  <a:pt x="976671" y="130718"/>
                </a:lnTo>
                <a:lnTo>
                  <a:pt x="1013864" y="158119"/>
                </a:lnTo>
                <a:lnTo>
                  <a:pt x="1048813" y="188188"/>
                </a:lnTo>
                <a:lnTo>
                  <a:pt x="1081368" y="220779"/>
                </a:lnTo>
                <a:lnTo>
                  <a:pt x="1111381" y="255747"/>
                </a:lnTo>
                <a:lnTo>
                  <a:pt x="1138702" y="292945"/>
                </a:lnTo>
                <a:lnTo>
                  <a:pt x="1163182" y="332227"/>
                </a:lnTo>
                <a:lnTo>
                  <a:pt x="1184672" y="373447"/>
                </a:lnTo>
                <a:lnTo>
                  <a:pt x="1203024" y="416459"/>
                </a:lnTo>
                <a:lnTo>
                  <a:pt x="1218087" y="461117"/>
                </a:lnTo>
                <a:lnTo>
                  <a:pt x="1229714" y="507274"/>
                </a:lnTo>
                <a:lnTo>
                  <a:pt x="1237754" y="554785"/>
                </a:lnTo>
                <a:lnTo>
                  <a:pt x="1242060" y="603503"/>
                </a:lnTo>
                <a:lnTo>
                  <a:pt x="1242822" y="618743"/>
                </a:lnTo>
                <a:lnTo>
                  <a:pt x="1242822" y="813371"/>
                </a:lnTo>
                <a:lnTo>
                  <a:pt x="1244593" y="807919"/>
                </a:lnTo>
                <a:lnTo>
                  <a:pt x="1255804" y="762070"/>
                </a:lnTo>
                <a:lnTo>
                  <a:pt x="1263639" y="714969"/>
                </a:lnTo>
                <a:lnTo>
                  <a:pt x="1267968" y="666749"/>
                </a:lnTo>
                <a:lnTo>
                  <a:pt x="1268730" y="650747"/>
                </a:lnTo>
                <a:close/>
              </a:path>
              <a:path w="1268729" h="1268729">
                <a:moveTo>
                  <a:pt x="22098" y="625601"/>
                </a:moveTo>
                <a:lnTo>
                  <a:pt x="18288" y="621791"/>
                </a:lnTo>
                <a:lnTo>
                  <a:pt x="12192" y="620267"/>
                </a:lnTo>
                <a:lnTo>
                  <a:pt x="3048" y="624839"/>
                </a:lnTo>
                <a:lnTo>
                  <a:pt x="0" y="629411"/>
                </a:lnTo>
                <a:lnTo>
                  <a:pt x="0" y="633983"/>
                </a:lnTo>
                <a:lnTo>
                  <a:pt x="22098" y="625601"/>
                </a:lnTo>
                <a:close/>
              </a:path>
              <a:path w="1268729" h="1268729">
                <a:moveTo>
                  <a:pt x="22098" y="635290"/>
                </a:moveTo>
                <a:lnTo>
                  <a:pt x="22098" y="625601"/>
                </a:lnTo>
                <a:lnTo>
                  <a:pt x="0" y="633983"/>
                </a:lnTo>
                <a:lnTo>
                  <a:pt x="0" y="650747"/>
                </a:lnTo>
                <a:lnTo>
                  <a:pt x="1524" y="683513"/>
                </a:lnTo>
                <a:lnTo>
                  <a:pt x="3810" y="702416"/>
                </a:lnTo>
                <a:lnTo>
                  <a:pt x="3810" y="643127"/>
                </a:lnTo>
                <a:lnTo>
                  <a:pt x="22098" y="635290"/>
                </a:lnTo>
                <a:close/>
              </a:path>
              <a:path w="1268729" h="1268729">
                <a:moveTo>
                  <a:pt x="25146" y="639317"/>
                </a:moveTo>
                <a:lnTo>
                  <a:pt x="25146" y="633983"/>
                </a:lnTo>
                <a:lnTo>
                  <a:pt x="3810" y="643127"/>
                </a:lnTo>
                <a:lnTo>
                  <a:pt x="7620" y="646937"/>
                </a:lnTo>
                <a:lnTo>
                  <a:pt x="12954" y="647699"/>
                </a:lnTo>
                <a:lnTo>
                  <a:pt x="17526" y="646175"/>
                </a:lnTo>
                <a:lnTo>
                  <a:pt x="22098" y="643889"/>
                </a:lnTo>
                <a:lnTo>
                  <a:pt x="25146" y="639317"/>
                </a:lnTo>
                <a:close/>
              </a:path>
              <a:path w="1268729" h="1268729">
                <a:moveTo>
                  <a:pt x="1242822" y="813371"/>
                </a:moveTo>
                <a:lnTo>
                  <a:pt x="1242822" y="649985"/>
                </a:lnTo>
                <a:lnTo>
                  <a:pt x="1242060" y="665987"/>
                </a:lnTo>
                <a:lnTo>
                  <a:pt x="1237977" y="713026"/>
                </a:lnTo>
                <a:lnTo>
                  <a:pt x="1230363" y="758961"/>
                </a:lnTo>
                <a:lnTo>
                  <a:pt x="1219356" y="803657"/>
                </a:lnTo>
                <a:lnTo>
                  <a:pt x="1205099" y="846979"/>
                </a:lnTo>
                <a:lnTo>
                  <a:pt x="1187733" y="888792"/>
                </a:lnTo>
                <a:lnTo>
                  <a:pt x="1167398" y="928959"/>
                </a:lnTo>
                <a:lnTo>
                  <a:pt x="1144236" y="967347"/>
                </a:lnTo>
                <a:lnTo>
                  <a:pt x="1118387" y="1003819"/>
                </a:lnTo>
                <a:lnTo>
                  <a:pt x="1089993" y="1038241"/>
                </a:lnTo>
                <a:lnTo>
                  <a:pt x="1059194" y="1070476"/>
                </a:lnTo>
                <a:lnTo>
                  <a:pt x="1026132" y="1100390"/>
                </a:lnTo>
                <a:lnTo>
                  <a:pt x="990947" y="1127847"/>
                </a:lnTo>
                <a:lnTo>
                  <a:pt x="953781" y="1152712"/>
                </a:lnTo>
                <a:lnTo>
                  <a:pt x="914775" y="1174850"/>
                </a:lnTo>
                <a:lnTo>
                  <a:pt x="874069" y="1194125"/>
                </a:lnTo>
                <a:lnTo>
                  <a:pt x="831805" y="1210402"/>
                </a:lnTo>
                <a:lnTo>
                  <a:pt x="788123" y="1223545"/>
                </a:lnTo>
                <a:lnTo>
                  <a:pt x="743166" y="1233420"/>
                </a:lnTo>
                <a:lnTo>
                  <a:pt x="697073" y="1239890"/>
                </a:lnTo>
                <a:lnTo>
                  <a:pt x="650748" y="1242774"/>
                </a:lnTo>
                <a:lnTo>
                  <a:pt x="617982" y="1242775"/>
                </a:lnTo>
                <a:lnTo>
                  <a:pt x="570201" y="1239852"/>
                </a:lnTo>
                <a:lnTo>
                  <a:pt x="522680" y="1233056"/>
                </a:lnTo>
                <a:lnTo>
                  <a:pt x="476340" y="1222588"/>
                </a:lnTo>
                <a:lnTo>
                  <a:pt x="431344" y="1208601"/>
                </a:lnTo>
                <a:lnTo>
                  <a:pt x="387853" y="1191249"/>
                </a:lnTo>
                <a:lnTo>
                  <a:pt x="346029" y="1170686"/>
                </a:lnTo>
                <a:lnTo>
                  <a:pt x="306032" y="1147066"/>
                </a:lnTo>
                <a:lnTo>
                  <a:pt x="268025" y="1120543"/>
                </a:lnTo>
                <a:lnTo>
                  <a:pt x="232169" y="1091272"/>
                </a:lnTo>
                <a:lnTo>
                  <a:pt x="198625" y="1059405"/>
                </a:lnTo>
                <a:lnTo>
                  <a:pt x="167555" y="1025097"/>
                </a:lnTo>
                <a:lnTo>
                  <a:pt x="139120" y="988502"/>
                </a:lnTo>
                <a:lnTo>
                  <a:pt x="113483" y="949774"/>
                </a:lnTo>
                <a:lnTo>
                  <a:pt x="90803" y="909066"/>
                </a:lnTo>
                <a:lnTo>
                  <a:pt x="71243" y="866533"/>
                </a:lnTo>
                <a:lnTo>
                  <a:pt x="54965" y="822329"/>
                </a:lnTo>
                <a:lnTo>
                  <a:pt x="42129" y="776607"/>
                </a:lnTo>
                <a:lnTo>
                  <a:pt x="32897" y="729522"/>
                </a:lnTo>
                <a:lnTo>
                  <a:pt x="27432" y="681227"/>
                </a:lnTo>
                <a:lnTo>
                  <a:pt x="25146" y="639317"/>
                </a:lnTo>
                <a:lnTo>
                  <a:pt x="22098" y="643889"/>
                </a:lnTo>
                <a:lnTo>
                  <a:pt x="17526" y="646175"/>
                </a:lnTo>
                <a:lnTo>
                  <a:pt x="12954" y="647699"/>
                </a:lnTo>
                <a:lnTo>
                  <a:pt x="7620" y="646937"/>
                </a:lnTo>
                <a:lnTo>
                  <a:pt x="3810" y="643127"/>
                </a:lnTo>
                <a:lnTo>
                  <a:pt x="3810" y="702416"/>
                </a:lnTo>
                <a:lnTo>
                  <a:pt x="16946" y="780371"/>
                </a:lnTo>
                <a:lnTo>
                  <a:pt x="29844" y="826720"/>
                </a:lnTo>
                <a:lnTo>
                  <a:pt x="46012" y="871508"/>
                </a:lnTo>
                <a:lnTo>
                  <a:pt x="65310" y="914603"/>
                </a:lnTo>
                <a:lnTo>
                  <a:pt x="87597" y="955874"/>
                </a:lnTo>
                <a:lnTo>
                  <a:pt x="112733" y="995191"/>
                </a:lnTo>
                <a:lnTo>
                  <a:pt x="140576" y="1032421"/>
                </a:lnTo>
                <a:lnTo>
                  <a:pt x="170987" y="1067434"/>
                </a:lnTo>
                <a:lnTo>
                  <a:pt x="203825" y="1100099"/>
                </a:lnTo>
                <a:lnTo>
                  <a:pt x="238949" y="1130284"/>
                </a:lnTo>
                <a:lnTo>
                  <a:pt x="276218" y="1157858"/>
                </a:lnTo>
                <a:lnTo>
                  <a:pt x="315493" y="1182691"/>
                </a:lnTo>
                <a:lnTo>
                  <a:pt x="356632" y="1204651"/>
                </a:lnTo>
                <a:lnTo>
                  <a:pt x="399495" y="1223606"/>
                </a:lnTo>
                <a:lnTo>
                  <a:pt x="443941" y="1239426"/>
                </a:lnTo>
                <a:lnTo>
                  <a:pt x="489829" y="1251980"/>
                </a:lnTo>
                <a:lnTo>
                  <a:pt x="537020" y="1261135"/>
                </a:lnTo>
                <a:lnTo>
                  <a:pt x="585372" y="1266762"/>
                </a:lnTo>
                <a:lnTo>
                  <a:pt x="634746" y="1268730"/>
                </a:lnTo>
                <a:lnTo>
                  <a:pt x="649986" y="1268004"/>
                </a:lnTo>
                <a:lnTo>
                  <a:pt x="666750" y="1267967"/>
                </a:lnTo>
                <a:lnTo>
                  <a:pt x="714953" y="1263591"/>
                </a:lnTo>
                <a:lnTo>
                  <a:pt x="762046" y="1255718"/>
                </a:lnTo>
                <a:lnTo>
                  <a:pt x="807895" y="1244482"/>
                </a:lnTo>
                <a:lnTo>
                  <a:pt x="852367" y="1230014"/>
                </a:lnTo>
                <a:lnTo>
                  <a:pt x="895328" y="1212446"/>
                </a:lnTo>
                <a:lnTo>
                  <a:pt x="936646" y="1191911"/>
                </a:lnTo>
                <a:lnTo>
                  <a:pt x="976188" y="1168540"/>
                </a:lnTo>
                <a:lnTo>
                  <a:pt x="1013864" y="1142430"/>
                </a:lnTo>
                <a:lnTo>
                  <a:pt x="1049408" y="1113820"/>
                </a:lnTo>
                <a:lnTo>
                  <a:pt x="1082821" y="1082735"/>
                </a:lnTo>
                <a:lnTo>
                  <a:pt x="1113924" y="1049342"/>
                </a:lnTo>
                <a:lnTo>
                  <a:pt x="1142585" y="1013773"/>
                </a:lnTo>
                <a:lnTo>
                  <a:pt x="1168670" y="976162"/>
                </a:lnTo>
                <a:lnTo>
                  <a:pt x="1192047" y="936638"/>
                </a:lnTo>
                <a:lnTo>
                  <a:pt x="1212582" y="895335"/>
                </a:lnTo>
                <a:lnTo>
                  <a:pt x="1230142" y="852385"/>
                </a:lnTo>
                <a:lnTo>
                  <a:pt x="1242822" y="813371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9">
            <a:extLst>
              <a:ext uri="{FF2B5EF4-FFF2-40B4-BE49-F238E27FC236}">
                <a16:creationId xmlns:a16="http://schemas.microsoft.com/office/drawing/2014/main" id="{0FF1CFA6-38F1-43A6-9436-B9711A387863}"/>
              </a:ext>
            </a:extLst>
          </p:cNvPr>
          <p:cNvSpPr/>
          <p:nvPr/>
        </p:nvSpPr>
        <p:spPr>
          <a:xfrm>
            <a:off x="5932283" y="2893483"/>
            <a:ext cx="1014983" cy="246125"/>
          </a:xfrm>
          <a:prstGeom prst="rect">
            <a:avLst/>
          </a:pr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21">
            <a:extLst>
              <a:ext uri="{FF2B5EF4-FFF2-40B4-BE49-F238E27FC236}">
                <a16:creationId xmlns:a16="http://schemas.microsoft.com/office/drawing/2014/main" id="{B0D36563-D859-4C90-866C-884054FF0450}"/>
              </a:ext>
            </a:extLst>
          </p:cNvPr>
          <p:cNvSpPr/>
          <p:nvPr/>
        </p:nvSpPr>
        <p:spPr>
          <a:xfrm>
            <a:off x="7636115" y="4576741"/>
            <a:ext cx="1014983" cy="249936"/>
          </a:xfrm>
          <a:prstGeom prst="rect">
            <a:avLst/>
          </a:pr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22">
            <a:extLst>
              <a:ext uri="{FF2B5EF4-FFF2-40B4-BE49-F238E27FC236}">
                <a16:creationId xmlns:a16="http://schemas.microsoft.com/office/drawing/2014/main" id="{6525F07D-2DD5-4F70-B9B7-4C05946EB599}"/>
              </a:ext>
            </a:extLst>
          </p:cNvPr>
          <p:cNvSpPr/>
          <p:nvPr/>
        </p:nvSpPr>
        <p:spPr>
          <a:xfrm>
            <a:off x="4228451" y="4576741"/>
            <a:ext cx="1014983" cy="249936"/>
          </a:xfrm>
          <a:prstGeom prst="rect">
            <a:avLst/>
          </a:prstGeom>
          <a:noFill/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3" name="Group 42"/>
          <p:cNvGrpSpPr/>
          <p:nvPr/>
        </p:nvGrpSpPr>
        <p:grpSpPr>
          <a:xfrm>
            <a:off x="10573046" y="0"/>
            <a:ext cx="1597721" cy="1615209"/>
            <a:chOff x="10594279" y="-15009"/>
            <a:chExt cx="1597721" cy="1615209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B2F1FD8C-26EA-47D2-8404-588BA4BBACEB}"/>
                </a:ext>
              </a:extLst>
            </p:cNvPr>
            <p:cNvGrpSpPr/>
            <p:nvPr/>
          </p:nvGrpSpPr>
          <p:grpSpPr>
            <a:xfrm>
              <a:off x="10594279" y="-15009"/>
              <a:ext cx="1597721" cy="1615209"/>
              <a:chOff x="10594279" y="-15009"/>
              <a:chExt cx="1597721" cy="1615209"/>
            </a:xfrm>
          </p:grpSpPr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36AD23A3-DE25-4538-8AC8-0E51F1E0581F}"/>
                  </a:ext>
                </a:extLst>
              </p:cNvPr>
              <p:cNvGrpSpPr/>
              <p:nvPr/>
            </p:nvGrpSpPr>
            <p:grpSpPr>
              <a:xfrm>
                <a:off x="10594279" y="-15009"/>
                <a:ext cx="1597721" cy="1615209"/>
                <a:chOff x="10594279" y="-15009"/>
                <a:chExt cx="1597721" cy="1615209"/>
              </a:xfrm>
            </p:grpSpPr>
            <p:sp>
              <p:nvSpPr>
                <p:cNvPr id="48" name="Right Triangle 47">
                  <a:extLst>
                    <a:ext uri="{FF2B5EF4-FFF2-40B4-BE49-F238E27FC236}">
                      <a16:creationId xmlns:a16="http://schemas.microsoft.com/office/drawing/2014/main" id="{0A03C037-AD20-47EE-8BE5-895488674BF0}"/>
                    </a:ext>
                  </a:extLst>
                </p:cNvPr>
                <p:cNvSpPr/>
                <p:nvPr/>
              </p:nvSpPr>
              <p:spPr bwMode="auto">
                <a:xfrm>
                  <a:off x="10594279" y="-15009"/>
                  <a:ext cx="1597660" cy="1600200"/>
                </a:xfrm>
                <a:prstGeom prst="rtTriangle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  <p:sp>
              <p:nvSpPr>
                <p:cNvPr id="49" name="Right Triangle 48">
                  <a:extLst>
                    <a:ext uri="{FF2B5EF4-FFF2-40B4-BE49-F238E27FC236}">
                      <a16:creationId xmlns:a16="http://schemas.microsoft.com/office/drawing/2014/main" id="{49F901B3-2A93-4ED2-A00E-BF69FF78C77C}"/>
                    </a:ext>
                  </a:extLst>
                </p:cNvPr>
                <p:cNvSpPr/>
                <p:nvPr/>
              </p:nvSpPr>
              <p:spPr bwMode="auto">
                <a:xfrm rot="10800000">
                  <a:off x="10594340" y="0"/>
                  <a:ext cx="1597660" cy="1600200"/>
                </a:xfrm>
                <a:prstGeom prst="rtTriangl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</p:grpSp>
          <p:pic>
            <p:nvPicPr>
              <p:cNvPr id="47" name="Picture 46">
                <a:extLst>
                  <a:ext uri="{FF2B5EF4-FFF2-40B4-BE49-F238E27FC236}">
                    <a16:creationId xmlns:a16="http://schemas.microsoft.com/office/drawing/2014/main" id="{EDE04F49-697D-409B-BB11-F88A15AD54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3748"/>
              <a:stretch/>
            </p:blipFill>
            <p:spPr>
              <a:xfrm>
                <a:off x="11454726" y="301037"/>
                <a:ext cx="394374" cy="386940"/>
              </a:xfrm>
              <a:prstGeom prst="rect">
                <a:avLst/>
              </a:prstGeom>
            </p:spPr>
          </p:pic>
        </p:grp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7F2355C5-7A7B-455B-A50F-FE6F7A77BAE4}"/>
                </a:ext>
              </a:extLst>
            </p:cNvPr>
            <p:cNvSpPr/>
            <p:nvPr/>
          </p:nvSpPr>
          <p:spPr bwMode="auto">
            <a:xfrm>
              <a:off x="11393109" y="261649"/>
              <a:ext cx="575745" cy="46571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entury Gothic" pitchFamily="34" charset="0"/>
                <a:cs typeface="Arial" charset="0"/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0862" y="2357305"/>
            <a:ext cx="9461014" cy="3889257"/>
          </a:xfrm>
          <a:prstGeom prst="rect">
            <a:avLst/>
          </a:prstGeom>
        </p:spPr>
      </p:pic>
      <p:sp>
        <p:nvSpPr>
          <p:cNvPr id="26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>
            <a:off x="1823659" y="6035418"/>
            <a:ext cx="633791" cy="15333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9696291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DF0A4F3-4DCF-440A-A76E-74E82FF126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3"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DF0A4F3-4DCF-440A-A76E-74E82FF126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04B28AC-F34C-48E8-87A9-A4295C14FA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99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AA888262-66C8-4D07-9DAD-C712D9376F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255" y="6367324"/>
            <a:ext cx="3860800" cy="365125"/>
          </a:xfrm>
        </p:spPr>
        <p:txBody>
          <a:bodyPr/>
          <a:lstStyle/>
          <a:p>
            <a:pPr algn="l"/>
            <a:r>
              <a:rPr lang="en-US" sz="800" dirty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A Brave New World? The Future of Banking in Emerging Europe </a:t>
            </a:r>
          </a:p>
        </p:txBody>
      </p:sp>
      <p:sp>
        <p:nvSpPr>
          <p:cNvPr id="20" name="Slide Number Placeholder 19">
            <a:extLst>
              <a:ext uri="{FF2B5EF4-FFF2-40B4-BE49-F238E27FC236}">
                <a16:creationId xmlns:a16="http://schemas.microsoft.com/office/drawing/2014/main" id="{0A484C32-E1ED-46AB-BF85-F66F386A9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z="800" smtClean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pPr/>
              <a:t>15</a:t>
            </a:fld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12" name="object 2">
            <a:extLst>
              <a:ext uri="{FF2B5EF4-FFF2-40B4-BE49-F238E27FC236}">
                <a16:creationId xmlns:a16="http://schemas.microsoft.com/office/drawing/2014/main" id="{372043DA-FCA6-449E-A876-208ACB15F4DE}"/>
              </a:ext>
            </a:extLst>
          </p:cNvPr>
          <p:cNvSpPr/>
          <p:nvPr/>
        </p:nvSpPr>
        <p:spPr>
          <a:xfrm>
            <a:off x="0" y="0"/>
            <a:ext cx="12191878" cy="6335423"/>
          </a:xfrm>
          <a:custGeom>
            <a:avLst/>
            <a:gdLst/>
            <a:ahLst/>
            <a:cxnLst/>
            <a:rect l="l" t="t" r="r" b="b"/>
            <a:pathLst>
              <a:path w="20104099" h="11308554">
                <a:moveTo>
                  <a:pt x="0" y="11308556"/>
                </a:moveTo>
                <a:lnTo>
                  <a:pt x="20104099" y="11308556"/>
                </a:lnTo>
                <a:lnTo>
                  <a:pt x="20104099" y="1"/>
                </a:lnTo>
                <a:lnTo>
                  <a:pt x="0" y="1"/>
                </a:lnTo>
                <a:lnTo>
                  <a:pt x="0" y="11308556"/>
                </a:lnTo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pPr defTabSz="486369"/>
            <a:endParaRPr sz="957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4" name="object 4">
            <a:extLst>
              <a:ext uri="{FF2B5EF4-FFF2-40B4-BE49-F238E27FC236}">
                <a16:creationId xmlns:a16="http://schemas.microsoft.com/office/drawing/2014/main" id="{934CDA0E-0E98-4BB2-8492-44B2E2593AFB}"/>
              </a:ext>
            </a:extLst>
          </p:cNvPr>
          <p:cNvSpPr txBox="1"/>
          <p:nvPr/>
        </p:nvSpPr>
        <p:spPr>
          <a:xfrm>
            <a:off x="878569" y="2469136"/>
            <a:ext cx="9915319" cy="84022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algn="ctr">
              <a:lnSpc>
                <a:spcPct val="100000"/>
              </a:lnSpc>
            </a:pPr>
            <a:r>
              <a:rPr lang="en-US" sz="3600" b="1" dirty="0">
                <a:solidFill>
                  <a:srgbClr val="FFFF00"/>
                </a:solidFill>
                <a:latin typeface="Futura" panose="020B0604020202020204"/>
                <a:cs typeface="Arial"/>
              </a:rPr>
              <a:t>What’s in store for Albania?</a:t>
            </a:r>
            <a:endParaRPr sz="3600" dirty="0">
              <a:solidFill>
                <a:srgbClr val="FFFF00"/>
              </a:solidFill>
              <a:latin typeface="Futura" panose="020B0604020202020204"/>
              <a:cs typeface="Arial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10573046" y="0"/>
            <a:ext cx="1597721" cy="1615209"/>
            <a:chOff x="10594279" y="-15009"/>
            <a:chExt cx="1597721" cy="1615209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2F1FD8C-26EA-47D2-8404-588BA4BBACEB}"/>
                </a:ext>
              </a:extLst>
            </p:cNvPr>
            <p:cNvGrpSpPr/>
            <p:nvPr/>
          </p:nvGrpSpPr>
          <p:grpSpPr>
            <a:xfrm>
              <a:off x="10594279" y="-15009"/>
              <a:ext cx="1597721" cy="1615209"/>
              <a:chOff x="10594279" y="-15009"/>
              <a:chExt cx="1597721" cy="1615209"/>
            </a:xfrm>
          </p:grpSpPr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36AD23A3-DE25-4538-8AC8-0E51F1E0581F}"/>
                  </a:ext>
                </a:extLst>
              </p:cNvPr>
              <p:cNvGrpSpPr/>
              <p:nvPr/>
            </p:nvGrpSpPr>
            <p:grpSpPr>
              <a:xfrm>
                <a:off x="10594279" y="-15009"/>
                <a:ext cx="1597721" cy="1615209"/>
                <a:chOff x="10594279" y="-15009"/>
                <a:chExt cx="1597721" cy="1615209"/>
              </a:xfrm>
            </p:grpSpPr>
            <p:sp>
              <p:nvSpPr>
                <p:cNvPr id="26" name="Right Triangle 25">
                  <a:extLst>
                    <a:ext uri="{FF2B5EF4-FFF2-40B4-BE49-F238E27FC236}">
                      <a16:creationId xmlns:a16="http://schemas.microsoft.com/office/drawing/2014/main" id="{0A03C037-AD20-47EE-8BE5-895488674BF0}"/>
                    </a:ext>
                  </a:extLst>
                </p:cNvPr>
                <p:cNvSpPr/>
                <p:nvPr/>
              </p:nvSpPr>
              <p:spPr bwMode="auto">
                <a:xfrm>
                  <a:off x="10594279" y="-15009"/>
                  <a:ext cx="1597660" cy="1600200"/>
                </a:xfrm>
                <a:prstGeom prst="rtTriangle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  <p:sp>
              <p:nvSpPr>
                <p:cNvPr id="27" name="Right Triangle 26">
                  <a:extLst>
                    <a:ext uri="{FF2B5EF4-FFF2-40B4-BE49-F238E27FC236}">
                      <a16:creationId xmlns:a16="http://schemas.microsoft.com/office/drawing/2014/main" id="{49F901B3-2A93-4ED2-A00E-BF69FF78C77C}"/>
                    </a:ext>
                  </a:extLst>
                </p:cNvPr>
                <p:cNvSpPr/>
                <p:nvPr/>
              </p:nvSpPr>
              <p:spPr bwMode="auto">
                <a:xfrm rot="10800000">
                  <a:off x="10594340" y="0"/>
                  <a:ext cx="1597660" cy="1600200"/>
                </a:xfrm>
                <a:prstGeom prst="rtTriangl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</p:grpSp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EDE04F49-697D-409B-BB11-F88A15AD54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3748"/>
              <a:stretch/>
            </p:blipFill>
            <p:spPr>
              <a:xfrm>
                <a:off x="11454726" y="301037"/>
                <a:ext cx="394374" cy="386940"/>
              </a:xfrm>
              <a:prstGeom prst="rect">
                <a:avLst/>
              </a:prstGeom>
            </p:spPr>
          </p:pic>
        </p:grp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F2355C5-7A7B-455B-A50F-FE6F7A77BAE4}"/>
                </a:ext>
              </a:extLst>
            </p:cNvPr>
            <p:cNvSpPr/>
            <p:nvPr/>
          </p:nvSpPr>
          <p:spPr bwMode="auto">
            <a:xfrm>
              <a:off x="11393109" y="261649"/>
              <a:ext cx="575745" cy="46571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entury Gothic" pitchFamily="34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65042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165CC22-03E5-44D4-AF90-0B9B575ACD0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-218878" y="653"/>
          <a:ext cx="2748001" cy="6858000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778344">
                  <a:extLst>
                    <a:ext uri="{9D8B030D-6E8A-4147-A177-3AD203B41FA5}">
                      <a16:colId xmlns:a16="http://schemas.microsoft.com/office/drawing/2014/main" val="1225932609"/>
                    </a:ext>
                  </a:extLst>
                </a:gridCol>
                <a:gridCol w="969657">
                  <a:extLst>
                    <a:ext uri="{9D8B030D-6E8A-4147-A177-3AD203B41FA5}">
                      <a16:colId xmlns:a16="http://schemas.microsoft.com/office/drawing/2014/main" val="165969625"/>
                    </a:ext>
                  </a:extLst>
                </a:gridCol>
              </a:tblGrid>
              <a:tr h="685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4000" b="1" i="0" kern="1200" dirty="0">
                        <a:solidFill>
                          <a:schemeClr val="dk1"/>
                        </a:solidFill>
                        <a:latin typeface="Futura CE Book" panose="02000504030000020003" pitchFamily="2" charset="0"/>
                        <a:ea typeface="+mn-ea"/>
                        <a:cs typeface="+mn-cs"/>
                      </a:endParaRPr>
                    </a:p>
                  </a:txBody>
                  <a:tcPr vert="vert27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1371600" marR="0" lvl="3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de-AT" sz="1600" i="0" dirty="0">
                        <a:latin typeface="Futura CE Book" panose="02000504030000020003" pitchFamily="2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486999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7ECF4C5-B426-4B1B-9651-B5399180F612}"/>
              </a:ext>
            </a:extLst>
          </p:cNvPr>
          <p:cNvSpPr/>
          <p:nvPr/>
        </p:nvSpPr>
        <p:spPr>
          <a:xfrm rot="16200000">
            <a:off x="-2152353" y="3059848"/>
            <a:ext cx="5830122" cy="7848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1519">
              <a:lnSpc>
                <a:spcPct val="150000"/>
              </a:lnSpc>
            </a:pPr>
            <a:r>
              <a:rPr lang="en-US" sz="3000" dirty="0">
                <a:latin typeface="Futura CE Book" panose="02000504030000020003" pitchFamily="2" charset="0"/>
                <a:cs typeface="Arial"/>
              </a:rPr>
              <a:t>Reduction of branches, staff and ATMs</a:t>
            </a:r>
          </a:p>
        </p:txBody>
      </p:sp>
      <p:sp>
        <p:nvSpPr>
          <p:cNvPr id="23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>
            <a:off x="166255" y="6367324"/>
            <a:ext cx="3860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A Brave New World? The Future of Banking in Emerging Europe </a:t>
            </a:r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24" name="Slide Number Placeholder 19">
            <a:extLst>
              <a:ext uri="{FF2B5EF4-FFF2-40B4-BE49-F238E27FC236}">
                <a16:creationId xmlns:a16="http://schemas.microsoft.com/office/drawing/2014/main" id="{EE238113-639A-48D7-A13F-6F830A20D66C}"/>
              </a:ext>
            </a:extLst>
          </p:cNvPr>
          <p:cNvSpPr txBox="1">
            <a:spLocks/>
          </p:cNvSpPr>
          <p:nvPr/>
        </p:nvSpPr>
        <p:spPr>
          <a:xfrm>
            <a:off x="8737602" y="6356353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939B1FA-81F2-4940-9AF3-5EAFB5D6669B}" type="slidenum">
              <a:rPr lang="en-US" sz="800" smtClean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pPr algn="r"/>
              <a:t>16</a:t>
            </a:fld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id="{27B37E1D-FCD7-48CE-A647-BF2E1392071C}"/>
              </a:ext>
            </a:extLst>
          </p:cNvPr>
          <p:cNvSpPr txBox="1"/>
          <p:nvPr/>
        </p:nvSpPr>
        <p:spPr>
          <a:xfrm>
            <a:off x="1976247" y="803517"/>
            <a:ext cx="4733164" cy="71371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519">
              <a:lnSpc>
                <a:spcPct val="150000"/>
              </a:lnSpc>
            </a:pPr>
            <a:r>
              <a:rPr lang="en-US" sz="3600" dirty="0">
                <a:latin typeface="Futura CE Book" panose="02000504030000020003" pitchFamily="2" charset="0"/>
                <a:cs typeface="Arial"/>
              </a:rPr>
              <a:t>Evolution in Albania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C1ABFB-D037-41C9-85D5-7FAE06753ACF}"/>
              </a:ext>
            </a:extLst>
          </p:cNvPr>
          <p:cNvSpPr/>
          <p:nvPr/>
        </p:nvSpPr>
        <p:spPr bwMode="auto">
          <a:xfrm>
            <a:off x="1723291" y="1643435"/>
            <a:ext cx="10351477" cy="158178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3C1ABFB-D037-41C9-85D5-7FAE06753ACF}"/>
              </a:ext>
            </a:extLst>
          </p:cNvPr>
          <p:cNvSpPr/>
          <p:nvPr/>
        </p:nvSpPr>
        <p:spPr bwMode="auto">
          <a:xfrm>
            <a:off x="11635748" y="6583606"/>
            <a:ext cx="384237" cy="27439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entury Gothic" pitchFamily="34" charset="0"/>
              <a:cs typeface="Arial" charset="0"/>
            </a:endParaRPr>
          </a:p>
        </p:txBody>
      </p:sp>
      <p:graphicFrame>
        <p:nvGraphicFramePr>
          <p:cNvPr id="58" name="Chart 5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4475395"/>
              </p:ext>
            </p:extLst>
          </p:nvPr>
        </p:nvGraphicFramePr>
        <p:xfrm>
          <a:off x="2529123" y="2102140"/>
          <a:ext cx="8127153" cy="37955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7" name="Group 16"/>
          <p:cNvGrpSpPr/>
          <p:nvPr/>
        </p:nvGrpSpPr>
        <p:grpSpPr>
          <a:xfrm>
            <a:off x="10573046" y="0"/>
            <a:ext cx="1597721" cy="1615209"/>
            <a:chOff x="10594279" y="-15009"/>
            <a:chExt cx="1597721" cy="1615209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B2F1FD8C-26EA-47D2-8404-588BA4BBACEB}"/>
                </a:ext>
              </a:extLst>
            </p:cNvPr>
            <p:cNvGrpSpPr/>
            <p:nvPr/>
          </p:nvGrpSpPr>
          <p:grpSpPr>
            <a:xfrm>
              <a:off x="10594279" y="-15009"/>
              <a:ext cx="1597721" cy="1615209"/>
              <a:chOff x="10594279" y="-15009"/>
              <a:chExt cx="1597721" cy="1615209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36AD23A3-DE25-4538-8AC8-0E51F1E0581F}"/>
                  </a:ext>
                </a:extLst>
              </p:cNvPr>
              <p:cNvGrpSpPr/>
              <p:nvPr/>
            </p:nvGrpSpPr>
            <p:grpSpPr>
              <a:xfrm>
                <a:off x="10594279" y="-15009"/>
                <a:ext cx="1597721" cy="1615209"/>
                <a:chOff x="10594279" y="-15009"/>
                <a:chExt cx="1597721" cy="1615209"/>
              </a:xfrm>
            </p:grpSpPr>
            <p:sp>
              <p:nvSpPr>
                <p:cNvPr id="22" name="Right Triangle 21">
                  <a:extLst>
                    <a:ext uri="{FF2B5EF4-FFF2-40B4-BE49-F238E27FC236}">
                      <a16:creationId xmlns:a16="http://schemas.microsoft.com/office/drawing/2014/main" id="{0A03C037-AD20-47EE-8BE5-895488674BF0}"/>
                    </a:ext>
                  </a:extLst>
                </p:cNvPr>
                <p:cNvSpPr/>
                <p:nvPr/>
              </p:nvSpPr>
              <p:spPr bwMode="auto">
                <a:xfrm>
                  <a:off x="10594279" y="-15009"/>
                  <a:ext cx="1597660" cy="1600200"/>
                </a:xfrm>
                <a:prstGeom prst="rtTriangle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  <p:sp>
              <p:nvSpPr>
                <p:cNvPr id="25" name="Right Triangle 24">
                  <a:extLst>
                    <a:ext uri="{FF2B5EF4-FFF2-40B4-BE49-F238E27FC236}">
                      <a16:creationId xmlns:a16="http://schemas.microsoft.com/office/drawing/2014/main" id="{49F901B3-2A93-4ED2-A00E-BF69FF78C77C}"/>
                    </a:ext>
                  </a:extLst>
                </p:cNvPr>
                <p:cNvSpPr/>
                <p:nvPr/>
              </p:nvSpPr>
              <p:spPr bwMode="auto">
                <a:xfrm rot="10800000">
                  <a:off x="10594340" y="0"/>
                  <a:ext cx="1597660" cy="1600200"/>
                </a:xfrm>
                <a:prstGeom prst="rtTriangl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</p:grpSp>
          <p:pic>
            <p:nvPicPr>
              <p:cNvPr id="21" name="Picture 20">
                <a:extLst>
                  <a:ext uri="{FF2B5EF4-FFF2-40B4-BE49-F238E27FC236}">
                    <a16:creationId xmlns:a16="http://schemas.microsoft.com/office/drawing/2014/main" id="{EDE04F49-697D-409B-BB11-F88A15AD54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3748"/>
              <a:stretch/>
            </p:blipFill>
            <p:spPr>
              <a:xfrm>
                <a:off x="11454726" y="301037"/>
                <a:ext cx="394374" cy="386940"/>
              </a:xfrm>
              <a:prstGeom prst="rect">
                <a:avLst/>
              </a:prstGeom>
            </p:spPr>
          </p:pic>
        </p:grp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F2355C5-7A7B-455B-A50F-FE6F7A77BAE4}"/>
                </a:ext>
              </a:extLst>
            </p:cNvPr>
            <p:cNvSpPr/>
            <p:nvPr/>
          </p:nvSpPr>
          <p:spPr bwMode="auto">
            <a:xfrm>
              <a:off x="11393109" y="261649"/>
              <a:ext cx="575745" cy="46571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entury Gothic" pitchFamily="34" charset="0"/>
                <a:cs typeface="Arial" charset="0"/>
              </a:endParaRPr>
            </a:p>
          </p:txBody>
        </p:sp>
      </p:grpSp>
      <p:sp>
        <p:nvSpPr>
          <p:cNvPr id="26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>
            <a:off x="2235139" y="6035418"/>
            <a:ext cx="3860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Source: Albanian Associations of Banks</a:t>
            </a:r>
          </a:p>
        </p:txBody>
      </p:sp>
    </p:spTree>
    <p:extLst>
      <p:ext uri="{BB962C8B-B14F-4D97-AF65-F5344CB8AC3E}">
        <p14:creationId xmlns:p14="http://schemas.microsoft.com/office/powerpoint/2010/main" val="41382410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165CC22-03E5-44D4-AF90-0B9B575ACD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2308725"/>
              </p:ext>
            </p:extLst>
          </p:nvPr>
        </p:nvGraphicFramePr>
        <p:xfrm>
          <a:off x="0" y="-15009"/>
          <a:ext cx="12192000" cy="6858000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548289">
                  <a:extLst>
                    <a:ext uri="{9D8B030D-6E8A-4147-A177-3AD203B41FA5}">
                      <a16:colId xmlns:a16="http://schemas.microsoft.com/office/drawing/2014/main" val="1225932609"/>
                    </a:ext>
                  </a:extLst>
                </a:gridCol>
                <a:gridCol w="10643711">
                  <a:extLst>
                    <a:ext uri="{9D8B030D-6E8A-4147-A177-3AD203B41FA5}">
                      <a16:colId xmlns:a16="http://schemas.microsoft.com/office/drawing/2014/main" val="165969625"/>
                    </a:ext>
                  </a:extLst>
                </a:gridCol>
              </a:tblGrid>
              <a:tr h="685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4000" b="1" i="0" kern="1200" dirty="0">
                        <a:solidFill>
                          <a:schemeClr val="dk1"/>
                        </a:solidFill>
                        <a:latin typeface="Futura CE Book" panose="02000504030000020003" pitchFamily="2" charset="0"/>
                        <a:ea typeface="+mn-ea"/>
                        <a:cs typeface="+mn-cs"/>
                      </a:endParaRPr>
                    </a:p>
                  </a:txBody>
                  <a:tcPr vert="vert27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1371600" marR="0" lvl="3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de-AT" sz="1600" i="0" dirty="0">
                        <a:latin typeface="Futura CE Book" panose="02000504030000020003" pitchFamily="2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486999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7ECF4C5-B426-4B1B-9651-B5399180F612}"/>
              </a:ext>
            </a:extLst>
          </p:cNvPr>
          <p:cNvSpPr/>
          <p:nvPr/>
        </p:nvSpPr>
        <p:spPr>
          <a:xfrm rot="16200000">
            <a:off x="-1486836" y="2980056"/>
            <a:ext cx="4416787" cy="7687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50000"/>
              </a:lnSpc>
              <a:defRPr/>
            </a:pPr>
            <a:r>
              <a:rPr lang="en-US" sz="3200" dirty="0">
                <a:solidFill>
                  <a:schemeClr val="dk1"/>
                </a:solidFill>
                <a:latin typeface="Futura CE Book" panose="02000504030000020003" pitchFamily="2" charset="0"/>
              </a:rPr>
              <a:t>What’s in Store for Albania?</a:t>
            </a:r>
          </a:p>
        </p:txBody>
      </p:sp>
      <p:sp>
        <p:nvSpPr>
          <p:cNvPr id="23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>
            <a:off x="768423" y="6543407"/>
            <a:ext cx="3860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A Brave New World? The Future of Banking in Emerging Europe </a:t>
            </a:r>
          </a:p>
        </p:txBody>
      </p:sp>
      <p:sp>
        <p:nvSpPr>
          <p:cNvPr id="24" name="Slide Number Placeholder 19">
            <a:extLst>
              <a:ext uri="{FF2B5EF4-FFF2-40B4-BE49-F238E27FC236}">
                <a16:creationId xmlns:a16="http://schemas.microsoft.com/office/drawing/2014/main" id="{EE238113-639A-48D7-A13F-6F830A20D66C}"/>
              </a:ext>
            </a:extLst>
          </p:cNvPr>
          <p:cNvSpPr txBox="1">
            <a:spLocks/>
          </p:cNvSpPr>
          <p:nvPr/>
        </p:nvSpPr>
        <p:spPr>
          <a:xfrm>
            <a:off x="8737602" y="6356353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939B1FA-81F2-4940-9AF3-5EAFB5D6669B}" type="slidenum">
              <a:rPr lang="en-US" sz="800" smtClean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pPr algn="r"/>
              <a:t>17</a:t>
            </a:fld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C1ABFB-D037-41C9-85D5-7FAE06753ACF}"/>
              </a:ext>
            </a:extLst>
          </p:cNvPr>
          <p:cNvSpPr/>
          <p:nvPr/>
        </p:nvSpPr>
        <p:spPr bwMode="auto">
          <a:xfrm>
            <a:off x="1731984" y="1674995"/>
            <a:ext cx="10201398" cy="63760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25" name="object 4">
            <a:extLst>
              <a:ext uri="{FF2B5EF4-FFF2-40B4-BE49-F238E27FC236}">
                <a16:creationId xmlns:a16="http://schemas.microsoft.com/office/drawing/2014/main" id="{53B807F5-B086-49EA-B3D1-D6CB11049FEC}"/>
              </a:ext>
            </a:extLst>
          </p:cNvPr>
          <p:cNvSpPr txBox="1"/>
          <p:nvPr/>
        </p:nvSpPr>
        <p:spPr>
          <a:xfrm>
            <a:off x="2107415" y="832844"/>
            <a:ext cx="6708881" cy="71371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519">
              <a:lnSpc>
                <a:spcPct val="150000"/>
              </a:lnSpc>
            </a:pPr>
            <a:r>
              <a:rPr lang="en-US" sz="3000" dirty="0">
                <a:latin typeface="Futura CE Book" panose="02000504030000020003" pitchFamily="2" charset="0"/>
                <a:cs typeface="Arial"/>
              </a:rPr>
              <a:t>Banks need to develop their digital identity… </a:t>
            </a:r>
          </a:p>
        </p:txBody>
      </p:sp>
      <p:sp>
        <p:nvSpPr>
          <p:cNvPr id="53" name="Shape 489">
            <a:extLst>
              <a:ext uri="{FF2B5EF4-FFF2-40B4-BE49-F238E27FC236}">
                <a16:creationId xmlns:a16="http://schemas.microsoft.com/office/drawing/2014/main" id="{D8379862-CF93-4FB8-B419-C0A1400FE224}"/>
              </a:ext>
            </a:extLst>
          </p:cNvPr>
          <p:cNvSpPr txBox="1">
            <a:spLocks/>
          </p:cNvSpPr>
          <p:nvPr/>
        </p:nvSpPr>
        <p:spPr>
          <a:xfrm>
            <a:off x="2191064" y="1989956"/>
            <a:ext cx="8738817" cy="3240360"/>
          </a:xfrm>
          <a:prstGeom prst="rect">
            <a:avLst/>
          </a:prstGeom>
        </p:spPr>
        <p:txBody>
          <a:bodyPr vert="horz" wrap="square" lIns="45688" tIns="45688" rIns="45688" bIns="45688" rtlCol="0" anchor="t" anchorCtr="0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i="0" u="none" strike="noStrike" kern="1200" cap="none" spc="0" baseline="0">
                <a:solidFill>
                  <a:schemeClr val="tx1"/>
                </a:solidFill>
                <a:uFillTx/>
                <a:latin typeface="Futura" panose="000004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32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igital transformation isn’t about achieving some final state, but rather </a:t>
            </a:r>
            <a:r>
              <a:rPr lang="en-US" sz="3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uilding change </a:t>
            </a:r>
            <a:br>
              <a:rPr lang="en-US" sz="32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32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s a core competency</a:t>
            </a:r>
            <a:endParaRPr lang="en" sz="4400" dirty="0">
              <a:solidFill>
                <a:schemeClr val="tx1">
                  <a:lumMod val="65000"/>
                  <a:lumOff val="35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D5010945-2A60-402B-988B-401D9BAA4001}"/>
              </a:ext>
            </a:extLst>
          </p:cNvPr>
          <p:cNvSpPr/>
          <p:nvPr/>
        </p:nvSpPr>
        <p:spPr>
          <a:xfrm>
            <a:off x="7392144" y="3852689"/>
            <a:ext cx="446449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600" b="1" dirty="0"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Roboto Condensed" panose="02000000000000000000" pitchFamily="2" charset="0"/>
                <a:cs typeface="Roboto" panose="020B0604020202020204" charset="0"/>
              </a:rPr>
              <a:t>Mindset</a:t>
            </a:r>
            <a:endParaRPr lang="en-US" b="1" dirty="0"/>
          </a:p>
        </p:txBody>
      </p:sp>
      <p:grpSp>
        <p:nvGrpSpPr>
          <p:cNvPr id="15" name="Group 14"/>
          <p:cNvGrpSpPr/>
          <p:nvPr/>
        </p:nvGrpSpPr>
        <p:grpSpPr>
          <a:xfrm>
            <a:off x="10573046" y="0"/>
            <a:ext cx="1597721" cy="1615209"/>
            <a:chOff x="10594279" y="-15009"/>
            <a:chExt cx="1597721" cy="1615209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B2F1FD8C-26EA-47D2-8404-588BA4BBACEB}"/>
                </a:ext>
              </a:extLst>
            </p:cNvPr>
            <p:cNvGrpSpPr/>
            <p:nvPr/>
          </p:nvGrpSpPr>
          <p:grpSpPr>
            <a:xfrm>
              <a:off x="10594279" y="-15009"/>
              <a:ext cx="1597721" cy="1615209"/>
              <a:chOff x="10594279" y="-15009"/>
              <a:chExt cx="1597721" cy="1615209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36AD23A3-DE25-4538-8AC8-0E51F1E0581F}"/>
                  </a:ext>
                </a:extLst>
              </p:cNvPr>
              <p:cNvGrpSpPr/>
              <p:nvPr/>
            </p:nvGrpSpPr>
            <p:grpSpPr>
              <a:xfrm>
                <a:off x="10594279" y="-15009"/>
                <a:ext cx="1597721" cy="1615209"/>
                <a:chOff x="10594279" y="-15009"/>
                <a:chExt cx="1597721" cy="1615209"/>
              </a:xfrm>
            </p:grpSpPr>
            <p:sp>
              <p:nvSpPr>
                <p:cNvPr id="28" name="Right Triangle 27">
                  <a:extLst>
                    <a:ext uri="{FF2B5EF4-FFF2-40B4-BE49-F238E27FC236}">
                      <a16:creationId xmlns:a16="http://schemas.microsoft.com/office/drawing/2014/main" id="{0A03C037-AD20-47EE-8BE5-895488674BF0}"/>
                    </a:ext>
                  </a:extLst>
                </p:cNvPr>
                <p:cNvSpPr/>
                <p:nvPr/>
              </p:nvSpPr>
              <p:spPr bwMode="auto">
                <a:xfrm>
                  <a:off x="10594279" y="-15009"/>
                  <a:ext cx="1597660" cy="1600200"/>
                </a:xfrm>
                <a:prstGeom prst="rtTriangle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  <p:sp>
              <p:nvSpPr>
                <p:cNvPr id="29" name="Right Triangle 28">
                  <a:extLst>
                    <a:ext uri="{FF2B5EF4-FFF2-40B4-BE49-F238E27FC236}">
                      <a16:creationId xmlns:a16="http://schemas.microsoft.com/office/drawing/2014/main" id="{49F901B3-2A93-4ED2-A00E-BF69FF78C77C}"/>
                    </a:ext>
                  </a:extLst>
                </p:cNvPr>
                <p:cNvSpPr/>
                <p:nvPr/>
              </p:nvSpPr>
              <p:spPr bwMode="auto">
                <a:xfrm rot="10800000">
                  <a:off x="10594340" y="0"/>
                  <a:ext cx="1597660" cy="1600200"/>
                </a:xfrm>
                <a:prstGeom prst="rtTriangl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</p:grpSp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EDE04F49-697D-409B-BB11-F88A15AD54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3748"/>
              <a:stretch/>
            </p:blipFill>
            <p:spPr>
              <a:xfrm>
                <a:off x="11454726" y="301037"/>
                <a:ext cx="394374" cy="386940"/>
              </a:xfrm>
              <a:prstGeom prst="rect">
                <a:avLst/>
              </a:prstGeom>
            </p:spPr>
          </p:pic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F2355C5-7A7B-455B-A50F-FE6F7A77BAE4}"/>
                </a:ext>
              </a:extLst>
            </p:cNvPr>
            <p:cNvSpPr/>
            <p:nvPr/>
          </p:nvSpPr>
          <p:spPr bwMode="auto">
            <a:xfrm>
              <a:off x="11393109" y="261649"/>
              <a:ext cx="575745" cy="46571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entury Gothic" pitchFamily="34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77057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165CC22-03E5-44D4-AF90-0B9B575ACD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6628153"/>
              </p:ext>
            </p:extLst>
          </p:nvPr>
        </p:nvGraphicFramePr>
        <p:xfrm>
          <a:off x="-61" y="0"/>
          <a:ext cx="12192000" cy="6858000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548289">
                  <a:extLst>
                    <a:ext uri="{9D8B030D-6E8A-4147-A177-3AD203B41FA5}">
                      <a16:colId xmlns:a16="http://schemas.microsoft.com/office/drawing/2014/main" val="1225932609"/>
                    </a:ext>
                  </a:extLst>
                </a:gridCol>
                <a:gridCol w="10643711">
                  <a:extLst>
                    <a:ext uri="{9D8B030D-6E8A-4147-A177-3AD203B41FA5}">
                      <a16:colId xmlns:a16="http://schemas.microsoft.com/office/drawing/2014/main" val="165969625"/>
                    </a:ext>
                  </a:extLst>
                </a:gridCol>
              </a:tblGrid>
              <a:tr h="685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4000" b="1" i="0" kern="1200" dirty="0">
                        <a:solidFill>
                          <a:schemeClr val="dk1"/>
                        </a:solidFill>
                        <a:latin typeface="Futura CE Book" panose="02000504030000020003" pitchFamily="2" charset="0"/>
                        <a:ea typeface="+mn-ea"/>
                        <a:cs typeface="+mn-cs"/>
                      </a:endParaRPr>
                    </a:p>
                  </a:txBody>
                  <a:tcPr vert="vert27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1371600" marR="0" lvl="3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de-AT" sz="1600" i="0" dirty="0">
                        <a:latin typeface="Futura CE Book" panose="02000504030000020003" pitchFamily="2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486999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7ECF4C5-B426-4B1B-9651-B5399180F612}"/>
              </a:ext>
            </a:extLst>
          </p:cNvPr>
          <p:cNvSpPr/>
          <p:nvPr/>
        </p:nvSpPr>
        <p:spPr>
          <a:xfrm rot="16200000">
            <a:off x="-1499785" y="3127028"/>
            <a:ext cx="4416787" cy="7687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50000"/>
              </a:lnSpc>
              <a:defRPr/>
            </a:pPr>
            <a:r>
              <a:rPr lang="en-US" sz="3200" dirty="0">
                <a:solidFill>
                  <a:schemeClr val="dk1"/>
                </a:solidFill>
                <a:latin typeface="Futura CE Book" panose="02000504030000020003" pitchFamily="2" charset="0"/>
              </a:rPr>
              <a:t>What’s in Store for Albania?</a:t>
            </a:r>
          </a:p>
        </p:txBody>
      </p:sp>
      <p:sp>
        <p:nvSpPr>
          <p:cNvPr id="23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>
            <a:off x="768423" y="6543407"/>
            <a:ext cx="3860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A Brave New World? The Future of Banking in Emerging Europe </a:t>
            </a:r>
          </a:p>
        </p:txBody>
      </p:sp>
      <p:sp>
        <p:nvSpPr>
          <p:cNvPr id="24" name="Slide Number Placeholder 19">
            <a:extLst>
              <a:ext uri="{FF2B5EF4-FFF2-40B4-BE49-F238E27FC236}">
                <a16:creationId xmlns:a16="http://schemas.microsoft.com/office/drawing/2014/main" id="{EE238113-639A-48D7-A13F-6F830A20D66C}"/>
              </a:ext>
            </a:extLst>
          </p:cNvPr>
          <p:cNvSpPr txBox="1">
            <a:spLocks/>
          </p:cNvSpPr>
          <p:nvPr/>
        </p:nvSpPr>
        <p:spPr>
          <a:xfrm>
            <a:off x="8737602" y="6356353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939B1FA-81F2-4940-9AF3-5EAFB5D6669B}" type="slidenum">
              <a:rPr lang="en-US" sz="800" smtClean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pPr algn="r"/>
              <a:t>18</a:t>
            </a:fld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C1ABFB-D037-41C9-85D5-7FAE06753ACF}"/>
              </a:ext>
            </a:extLst>
          </p:cNvPr>
          <p:cNvSpPr/>
          <p:nvPr/>
        </p:nvSpPr>
        <p:spPr bwMode="auto">
          <a:xfrm>
            <a:off x="1731984" y="1686107"/>
            <a:ext cx="10201398" cy="128535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25" name="object 4">
            <a:extLst>
              <a:ext uri="{FF2B5EF4-FFF2-40B4-BE49-F238E27FC236}">
                <a16:creationId xmlns:a16="http://schemas.microsoft.com/office/drawing/2014/main" id="{53B807F5-B086-49EA-B3D1-D6CB11049FEC}"/>
              </a:ext>
            </a:extLst>
          </p:cNvPr>
          <p:cNvSpPr txBox="1"/>
          <p:nvPr/>
        </p:nvSpPr>
        <p:spPr>
          <a:xfrm>
            <a:off x="2191804" y="881267"/>
            <a:ext cx="5957786" cy="71371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519">
              <a:lnSpc>
                <a:spcPct val="150000"/>
              </a:lnSpc>
            </a:pPr>
            <a:r>
              <a:rPr lang="en-US" sz="3000" dirty="0">
                <a:latin typeface="Futura CE Book" panose="02000504030000020003" pitchFamily="2" charset="0"/>
                <a:cs typeface="Arial"/>
              </a:rPr>
              <a:t>Value gap requires customer centricity… </a:t>
            </a:r>
          </a:p>
        </p:txBody>
      </p:sp>
      <p:sp>
        <p:nvSpPr>
          <p:cNvPr id="53" name="Shape 489">
            <a:extLst>
              <a:ext uri="{FF2B5EF4-FFF2-40B4-BE49-F238E27FC236}">
                <a16:creationId xmlns:a16="http://schemas.microsoft.com/office/drawing/2014/main" id="{D8379862-CF93-4FB8-B419-C0A1400FE224}"/>
              </a:ext>
            </a:extLst>
          </p:cNvPr>
          <p:cNvSpPr txBox="1">
            <a:spLocks/>
          </p:cNvSpPr>
          <p:nvPr/>
        </p:nvSpPr>
        <p:spPr>
          <a:xfrm>
            <a:off x="1731984" y="1976362"/>
            <a:ext cx="9236363" cy="1354409"/>
          </a:xfrm>
          <a:prstGeom prst="rect">
            <a:avLst/>
          </a:prstGeom>
        </p:spPr>
        <p:txBody>
          <a:bodyPr vert="horz" wrap="square" lIns="45688" tIns="45688" rIns="45688" bIns="45688" rtlCol="0" anchor="t" anchorCtr="0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i="0" u="none" strike="noStrike" kern="1200" cap="none" spc="0" baseline="0">
                <a:solidFill>
                  <a:schemeClr val="tx1"/>
                </a:solidFill>
                <a:uFillTx/>
                <a:latin typeface="Futura" panose="000004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US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anks focusing on products fail to meet customer’s expectations. They should rather focus on customer’s needs</a:t>
            </a:r>
            <a:endParaRPr lang="en" dirty="0">
              <a:solidFill>
                <a:schemeClr val="tx1">
                  <a:lumMod val="65000"/>
                  <a:lumOff val="35000"/>
                </a:schemeClr>
              </a:solidFill>
              <a:latin typeface="Roboto Condensed" panose="02000000000000000000" pitchFamily="2" charset="0"/>
              <a:ea typeface="Roboto Condensed" panose="02000000000000000000" pitchFamily="2" charset="0"/>
            </a:endParaRPr>
          </a:p>
        </p:txBody>
      </p:sp>
      <p:sp>
        <p:nvSpPr>
          <p:cNvPr id="15" name="object 4">
            <a:extLst>
              <a:ext uri="{FF2B5EF4-FFF2-40B4-BE49-F238E27FC236}">
                <a16:creationId xmlns:a16="http://schemas.microsoft.com/office/drawing/2014/main" id="{5E27E056-CACA-44FA-9D5C-D4DE4CDF5E5E}"/>
              </a:ext>
            </a:extLst>
          </p:cNvPr>
          <p:cNvSpPr txBox="1"/>
          <p:nvPr/>
        </p:nvSpPr>
        <p:spPr>
          <a:xfrm>
            <a:off x="2808113" y="3602506"/>
            <a:ext cx="6743290" cy="3308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>
              <a:lnSpc>
                <a:spcPct val="100000"/>
              </a:lnSpc>
            </a:pPr>
            <a:r>
              <a:rPr lang="en-US" sz="1600" spc="25" dirty="0">
                <a:latin typeface="Futura" panose="020B0604020202020204"/>
                <a:cs typeface="Arial"/>
              </a:rPr>
              <a:t>Think mobile first as Albanians are oriented towards high mobile usage</a:t>
            </a:r>
            <a:endParaRPr sz="1600" dirty="0">
              <a:latin typeface="Futura" panose="020B0604020202020204"/>
              <a:cs typeface="Arial"/>
            </a:endParaRPr>
          </a:p>
        </p:txBody>
      </p:sp>
      <p:sp>
        <p:nvSpPr>
          <p:cNvPr id="16" name="object 5">
            <a:extLst>
              <a:ext uri="{FF2B5EF4-FFF2-40B4-BE49-F238E27FC236}">
                <a16:creationId xmlns:a16="http://schemas.microsoft.com/office/drawing/2014/main" id="{6DF63A27-CAC3-43B1-B355-9B22AB7545F1}"/>
              </a:ext>
            </a:extLst>
          </p:cNvPr>
          <p:cNvSpPr/>
          <p:nvPr/>
        </p:nvSpPr>
        <p:spPr>
          <a:xfrm>
            <a:off x="2743031" y="4262519"/>
            <a:ext cx="45719" cy="626746"/>
          </a:xfrm>
          <a:custGeom>
            <a:avLst/>
            <a:gdLst/>
            <a:ahLst/>
            <a:cxnLst/>
            <a:rect l="l" t="t" r="r" b="b"/>
            <a:pathLst>
              <a:path h="1298448">
                <a:moveTo>
                  <a:pt x="0" y="0"/>
                </a:moveTo>
                <a:lnTo>
                  <a:pt x="0" y="1298448"/>
                </a:lnTo>
              </a:path>
            </a:pathLst>
          </a:custGeom>
          <a:ln w="60960"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5">
            <a:extLst>
              <a:ext uri="{FF2B5EF4-FFF2-40B4-BE49-F238E27FC236}">
                <a16:creationId xmlns:a16="http://schemas.microsoft.com/office/drawing/2014/main" id="{2CE3544C-E2C9-4396-B69E-40E6DBF49F45}"/>
              </a:ext>
            </a:extLst>
          </p:cNvPr>
          <p:cNvSpPr/>
          <p:nvPr/>
        </p:nvSpPr>
        <p:spPr>
          <a:xfrm>
            <a:off x="2743031" y="3534856"/>
            <a:ext cx="45719" cy="626746"/>
          </a:xfrm>
          <a:custGeom>
            <a:avLst/>
            <a:gdLst/>
            <a:ahLst/>
            <a:cxnLst/>
            <a:rect l="l" t="t" r="r" b="b"/>
            <a:pathLst>
              <a:path h="1298448">
                <a:moveTo>
                  <a:pt x="0" y="0"/>
                </a:moveTo>
                <a:lnTo>
                  <a:pt x="0" y="1298448"/>
                </a:lnTo>
              </a:path>
            </a:pathLst>
          </a:custGeom>
          <a:ln w="60960"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6" name="object 4">
            <a:extLst>
              <a:ext uri="{FF2B5EF4-FFF2-40B4-BE49-F238E27FC236}">
                <a16:creationId xmlns:a16="http://schemas.microsoft.com/office/drawing/2014/main" id="{7734B8F6-ECEE-48BC-B4A1-C87423019C5F}"/>
              </a:ext>
            </a:extLst>
          </p:cNvPr>
          <p:cNvSpPr txBox="1"/>
          <p:nvPr/>
        </p:nvSpPr>
        <p:spPr>
          <a:xfrm>
            <a:off x="2808113" y="4405177"/>
            <a:ext cx="6743290" cy="3308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>
              <a:lnSpc>
                <a:spcPct val="100000"/>
              </a:lnSpc>
            </a:pPr>
            <a:r>
              <a:rPr lang="en-US" sz="1600" spc="25" dirty="0">
                <a:latin typeface="Futura" panose="020B0604020202020204"/>
                <a:cs typeface="Arial"/>
              </a:rPr>
              <a:t>Enable digital engagement and acquisition</a:t>
            </a:r>
            <a:endParaRPr sz="1600" dirty="0">
              <a:latin typeface="Futura" panose="020B0604020202020204"/>
              <a:cs typeface="Arial"/>
            </a:endParaRPr>
          </a:p>
        </p:txBody>
      </p:sp>
      <p:sp>
        <p:nvSpPr>
          <p:cNvPr id="27" name="object 5">
            <a:extLst>
              <a:ext uri="{FF2B5EF4-FFF2-40B4-BE49-F238E27FC236}">
                <a16:creationId xmlns:a16="http://schemas.microsoft.com/office/drawing/2014/main" id="{0BF2FADF-3A96-4E48-8CD1-B9CACEA6118C}"/>
              </a:ext>
            </a:extLst>
          </p:cNvPr>
          <p:cNvSpPr/>
          <p:nvPr/>
        </p:nvSpPr>
        <p:spPr>
          <a:xfrm>
            <a:off x="2728264" y="4973045"/>
            <a:ext cx="45719" cy="626746"/>
          </a:xfrm>
          <a:custGeom>
            <a:avLst/>
            <a:gdLst/>
            <a:ahLst/>
            <a:cxnLst/>
            <a:rect l="l" t="t" r="r" b="b"/>
            <a:pathLst>
              <a:path h="1298448">
                <a:moveTo>
                  <a:pt x="0" y="0"/>
                </a:moveTo>
                <a:lnTo>
                  <a:pt x="0" y="1298448"/>
                </a:lnTo>
              </a:path>
            </a:pathLst>
          </a:custGeom>
          <a:ln w="60960"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object 4">
            <a:extLst>
              <a:ext uri="{FF2B5EF4-FFF2-40B4-BE49-F238E27FC236}">
                <a16:creationId xmlns:a16="http://schemas.microsoft.com/office/drawing/2014/main" id="{25FF3790-C683-4D70-B868-542A1CF8AE5F}"/>
              </a:ext>
            </a:extLst>
          </p:cNvPr>
          <p:cNvSpPr txBox="1"/>
          <p:nvPr/>
        </p:nvSpPr>
        <p:spPr>
          <a:xfrm>
            <a:off x="2808113" y="5083681"/>
            <a:ext cx="6743290" cy="3308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>
              <a:lnSpc>
                <a:spcPct val="100000"/>
              </a:lnSpc>
            </a:pPr>
            <a:r>
              <a:rPr lang="en-US" sz="1600" spc="25" dirty="0">
                <a:latin typeface="Futura" panose="020B0604020202020204"/>
                <a:cs typeface="Arial"/>
              </a:rPr>
              <a:t>Branches aren’t going away, leverage their usage-sales and advisory</a:t>
            </a:r>
            <a:endParaRPr sz="1600" dirty="0">
              <a:latin typeface="Futura" panose="020B0604020202020204"/>
              <a:cs typeface="Arial"/>
            </a:endParaRPr>
          </a:p>
        </p:txBody>
      </p:sp>
      <p:sp>
        <p:nvSpPr>
          <p:cNvPr id="29" name="object 5">
            <a:extLst>
              <a:ext uri="{FF2B5EF4-FFF2-40B4-BE49-F238E27FC236}">
                <a16:creationId xmlns:a16="http://schemas.microsoft.com/office/drawing/2014/main" id="{63C5AADF-17F1-49F4-8595-522C0C248D7E}"/>
              </a:ext>
            </a:extLst>
          </p:cNvPr>
          <p:cNvSpPr/>
          <p:nvPr/>
        </p:nvSpPr>
        <p:spPr>
          <a:xfrm>
            <a:off x="2728264" y="5683571"/>
            <a:ext cx="45719" cy="626746"/>
          </a:xfrm>
          <a:custGeom>
            <a:avLst/>
            <a:gdLst/>
            <a:ahLst/>
            <a:cxnLst/>
            <a:rect l="l" t="t" r="r" b="b"/>
            <a:pathLst>
              <a:path h="1298448">
                <a:moveTo>
                  <a:pt x="0" y="0"/>
                </a:moveTo>
                <a:lnTo>
                  <a:pt x="0" y="1298448"/>
                </a:lnTo>
              </a:path>
            </a:pathLst>
          </a:custGeom>
          <a:ln w="60960"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object 4">
            <a:extLst>
              <a:ext uri="{FF2B5EF4-FFF2-40B4-BE49-F238E27FC236}">
                <a16:creationId xmlns:a16="http://schemas.microsoft.com/office/drawing/2014/main" id="{8E50F2E3-A2BF-4293-A9BA-DC1EBDA0FCD2}"/>
              </a:ext>
            </a:extLst>
          </p:cNvPr>
          <p:cNvSpPr txBox="1"/>
          <p:nvPr/>
        </p:nvSpPr>
        <p:spPr>
          <a:xfrm>
            <a:off x="2808112" y="5770324"/>
            <a:ext cx="6839979" cy="3308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>
              <a:lnSpc>
                <a:spcPct val="100000"/>
              </a:lnSpc>
            </a:pPr>
            <a:r>
              <a:rPr lang="en-US" sz="1600" spc="25" dirty="0">
                <a:latin typeface="Futura" panose="020B0604020202020204"/>
                <a:cs typeface="Arial"/>
              </a:rPr>
              <a:t>Seek only products/services that add measurable value for the customer</a:t>
            </a:r>
            <a:endParaRPr sz="1600" dirty="0">
              <a:latin typeface="Futura" panose="020B0604020202020204"/>
              <a:cs typeface="Arial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10573046" y="0"/>
            <a:ext cx="1597721" cy="1615209"/>
            <a:chOff x="10594279" y="-15009"/>
            <a:chExt cx="1597721" cy="1615209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B2F1FD8C-26EA-47D2-8404-588BA4BBACEB}"/>
                </a:ext>
              </a:extLst>
            </p:cNvPr>
            <p:cNvGrpSpPr/>
            <p:nvPr/>
          </p:nvGrpSpPr>
          <p:grpSpPr>
            <a:xfrm>
              <a:off x="10594279" y="-15009"/>
              <a:ext cx="1597721" cy="1615209"/>
              <a:chOff x="10594279" y="-15009"/>
              <a:chExt cx="1597721" cy="1615209"/>
            </a:xfrm>
          </p:grpSpPr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36AD23A3-DE25-4538-8AC8-0E51F1E0581F}"/>
                  </a:ext>
                </a:extLst>
              </p:cNvPr>
              <p:cNvGrpSpPr/>
              <p:nvPr/>
            </p:nvGrpSpPr>
            <p:grpSpPr>
              <a:xfrm>
                <a:off x="10594279" y="-15009"/>
                <a:ext cx="1597721" cy="1615209"/>
                <a:chOff x="10594279" y="-15009"/>
                <a:chExt cx="1597721" cy="1615209"/>
              </a:xfrm>
            </p:grpSpPr>
            <p:sp>
              <p:nvSpPr>
                <p:cNvPr id="36" name="Right Triangle 35">
                  <a:extLst>
                    <a:ext uri="{FF2B5EF4-FFF2-40B4-BE49-F238E27FC236}">
                      <a16:creationId xmlns:a16="http://schemas.microsoft.com/office/drawing/2014/main" id="{0A03C037-AD20-47EE-8BE5-895488674BF0}"/>
                    </a:ext>
                  </a:extLst>
                </p:cNvPr>
                <p:cNvSpPr/>
                <p:nvPr/>
              </p:nvSpPr>
              <p:spPr bwMode="auto">
                <a:xfrm>
                  <a:off x="10594279" y="-15009"/>
                  <a:ext cx="1597660" cy="1600200"/>
                </a:xfrm>
                <a:prstGeom prst="rtTriangle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  <p:sp>
              <p:nvSpPr>
                <p:cNvPr id="37" name="Right Triangle 36">
                  <a:extLst>
                    <a:ext uri="{FF2B5EF4-FFF2-40B4-BE49-F238E27FC236}">
                      <a16:creationId xmlns:a16="http://schemas.microsoft.com/office/drawing/2014/main" id="{49F901B3-2A93-4ED2-A00E-BF69FF78C77C}"/>
                    </a:ext>
                  </a:extLst>
                </p:cNvPr>
                <p:cNvSpPr/>
                <p:nvPr/>
              </p:nvSpPr>
              <p:spPr bwMode="auto">
                <a:xfrm rot="10800000">
                  <a:off x="10594340" y="0"/>
                  <a:ext cx="1597660" cy="1600200"/>
                </a:xfrm>
                <a:prstGeom prst="rtTriangl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</p:grpSp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EDE04F49-697D-409B-BB11-F88A15AD54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3748"/>
              <a:stretch/>
            </p:blipFill>
            <p:spPr>
              <a:xfrm>
                <a:off x="11454726" y="301037"/>
                <a:ext cx="394374" cy="386940"/>
              </a:xfrm>
              <a:prstGeom prst="rect">
                <a:avLst/>
              </a:prstGeom>
            </p:spPr>
          </p:pic>
        </p:grp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7F2355C5-7A7B-455B-A50F-FE6F7A77BAE4}"/>
                </a:ext>
              </a:extLst>
            </p:cNvPr>
            <p:cNvSpPr/>
            <p:nvPr/>
          </p:nvSpPr>
          <p:spPr bwMode="auto">
            <a:xfrm>
              <a:off x="11393109" y="261649"/>
              <a:ext cx="575745" cy="46571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entury Gothic" pitchFamily="34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13515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165CC22-03E5-44D4-AF90-0B9B575ACD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3337378"/>
              </p:ext>
            </p:extLst>
          </p:nvPr>
        </p:nvGraphicFramePr>
        <p:xfrm>
          <a:off x="-61" y="-15009"/>
          <a:ext cx="12192000" cy="6858000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548289">
                  <a:extLst>
                    <a:ext uri="{9D8B030D-6E8A-4147-A177-3AD203B41FA5}">
                      <a16:colId xmlns:a16="http://schemas.microsoft.com/office/drawing/2014/main" val="1225932609"/>
                    </a:ext>
                  </a:extLst>
                </a:gridCol>
                <a:gridCol w="10643711">
                  <a:extLst>
                    <a:ext uri="{9D8B030D-6E8A-4147-A177-3AD203B41FA5}">
                      <a16:colId xmlns:a16="http://schemas.microsoft.com/office/drawing/2014/main" val="165969625"/>
                    </a:ext>
                  </a:extLst>
                </a:gridCol>
              </a:tblGrid>
              <a:tr h="685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4000" b="1" i="0" kern="1200" dirty="0">
                        <a:solidFill>
                          <a:schemeClr val="dk1"/>
                        </a:solidFill>
                        <a:latin typeface="Futura CE Book" panose="02000504030000020003" pitchFamily="2" charset="0"/>
                        <a:ea typeface="+mn-ea"/>
                        <a:cs typeface="+mn-cs"/>
                      </a:endParaRPr>
                    </a:p>
                  </a:txBody>
                  <a:tcPr vert="vert27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1371600" marR="0" lvl="3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de-AT" sz="1600" i="0" dirty="0">
                        <a:latin typeface="Futura CE Book" panose="02000504030000020003" pitchFamily="2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486999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7ECF4C5-B426-4B1B-9651-B5399180F612}"/>
              </a:ext>
            </a:extLst>
          </p:cNvPr>
          <p:cNvSpPr/>
          <p:nvPr/>
        </p:nvSpPr>
        <p:spPr>
          <a:xfrm rot="16200000">
            <a:off x="-1439971" y="3029623"/>
            <a:ext cx="4416787" cy="7687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50000"/>
              </a:lnSpc>
              <a:defRPr/>
            </a:pPr>
            <a:r>
              <a:rPr lang="en-US" sz="3200" dirty="0">
                <a:solidFill>
                  <a:schemeClr val="dk1"/>
                </a:solidFill>
                <a:latin typeface="Futura CE Book" panose="02000504030000020003" pitchFamily="2" charset="0"/>
              </a:rPr>
              <a:t>What’s in Store for Albania?</a:t>
            </a:r>
          </a:p>
        </p:txBody>
      </p:sp>
      <p:sp>
        <p:nvSpPr>
          <p:cNvPr id="23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>
            <a:off x="768423" y="6543407"/>
            <a:ext cx="3860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A Brave New World? The Future of Banking in Emerging Europe </a:t>
            </a:r>
          </a:p>
        </p:txBody>
      </p:sp>
      <p:sp>
        <p:nvSpPr>
          <p:cNvPr id="24" name="Slide Number Placeholder 19">
            <a:extLst>
              <a:ext uri="{FF2B5EF4-FFF2-40B4-BE49-F238E27FC236}">
                <a16:creationId xmlns:a16="http://schemas.microsoft.com/office/drawing/2014/main" id="{EE238113-639A-48D7-A13F-6F830A20D66C}"/>
              </a:ext>
            </a:extLst>
          </p:cNvPr>
          <p:cNvSpPr txBox="1">
            <a:spLocks/>
          </p:cNvSpPr>
          <p:nvPr/>
        </p:nvSpPr>
        <p:spPr>
          <a:xfrm>
            <a:off x="8737602" y="6356353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939B1FA-81F2-4940-9AF3-5EAFB5D6669B}" type="slidenum">
              <a:rPr lang="en-US" sz="800" smtClean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pPr algn="r"/>
              <a:t>19</a:t>
            </a:fld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C1ABFB-D037-41C9-85D5-7FAE06753ACF}"/>
              </a:ext>
            </a:extLst>
          </p:cNvPr>
          <p:cNvSpPr/>
          <p:nvPr/>
        </p:nvSpPr>
        <p:spPr bwMode="auto">
          <a:xfrm>
            <a:off x="1593655" y="1643632"/>
            <a:ext cx="10339727" cy="144698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25" name="object 4">
            <a:extLst>
              <a:ext uri="{FF2B5EF4-FFF2-40B4-BE49-F238E27FC236}">
                <a16:creationId xmlns:a16="http://schemas.microsoft.com/office/drawing/2014/main" id="{53B807F5-B086-49EA-B3D1-D6CB11049FEC}"/>
              </a:ext>
            </a:extLst>
          </p:cNvPr>
          <p:cNvSpPr txBox="1"/>
          <p:nvPr/>
        </p:nvSpPr>
        <p:spPr>
          <a:xfrm>
            <a:off x="1978151" y="864377"/>
            <a:ext cx="3748279" cy="71371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519">
              <a:lnSpc>
                <a:spcPct val="150000"/>
              </a:lnSpc>
            </a:pPr>
            <a:r>
              <a:rPr lang="en-US" sz="3000" dirty="0">
                <a:latin typeface="Futura CE Book" panose="02000504030000020003" pitchFamily="2" charset="0"/>
                <a:cs typeface="Arial"/>
              </a:rPr>
              <a:t>Partner with </a:t>
            </a:r>
            <a:r>
              <a:rPr lang="en-US" sz="3000" dirty="0" err="1">
                <a:latin typeface="Futura CE Book" panose="02000504030000020003" pitchFamily="2" charset="0"/>
                <a:cs typeface="Arial"/>
              </a:rPr>
              <a:t>Fintechs</a:t>
            </a:r>
            <a:r>
              <a:rPr lang="en-US" sz="3000" dirty="0">
                <a:latin typeface="Futura CE Book" panose="02000504030000020003" pitchFamily="2" charset="0"/>
                <a:cs typeface="Arial"/>
              </a:rPr>
              <a:t>… </a:t>
            </a:r>
          </a:p>
        </p:txBody>
      </p:sp>
      <p:sp>
        <p:nvSpPr>
          <p:cNvPr id="15" name="Shape 489">
            <a:extLst>
              <a:ext uri="{FF2B5EF4-FFF2-40B4-BE49-F238E27FC236}">
                <a16:creationId xmlns:a16="http://schemas.microsoft.com/office/drawing/2014/main" id="{B9953503-1A53-4D2E-AF80-E628137418C0}"/>
              </a:ext>
            </a:extLst>
          </p:cNvPr>
          <p:cNvSpPr txBox="1">
            <a:spLocks/>
          </p:cNvSpPr>
          <p:nvPr/>
        </p:nvSpPr>
        <p:spPr>
          <a:xfrm>
            <a:off x="1635636" y="1914412"/>
            <a:ext cx="9900097" cy="1639046"/>
          </a:xfrm>
          <a:prstGeom prst="rect">
            <a:avLst/>
          </a:prstGeom>
        </p:spPr>
        <p:txBody>
          <a:bodyPr vert="horz" wrap="square" lIns="45688" tIns="45688" rIns="45688" bIns="45688" rtlCol="0" anchor="t" anchorCtr="0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i="0" u="none" strike="noStrike" kern="1200" cap="none" spc="0" baseline="0">
                <a:solidFill>
                  <a:schemeClr val="tx1"/>
                </a:solidFill>
                <a:uFillTx/>
                <a:latin typeface="Futura" panose="000004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-US" sz="32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y are tech savvy, they are agile, they are fast and often cheaper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16EDD17-7C92-4804-9DEA-8D885042DC06}"/>
              </a:ext>
            </a:extLst>
          </p:cNvPr>
          <p:cNvSpPr/>
          <p:nvPr/>
        </p:nvSpPr>
        <p:spPr>
          <a:xfrm>
            <a:off x="2213483" y="3741375"/>
            <a:ext cx="963561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b="1" dirty="0">
                <a:ln w="12700">
                  <a:solidFill>
                    <a:schemeClr val="tx1">
                      <a:lumMod val="75000"/>
                      <a:lumOff val="25000"/>
                    </a:schemeClr>
                  </a:solidFill>
                </a:ln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Roboto Condensed" panose="02000000000000000000" pitchFamily="2" charset="0"/>
                <a:cs typeface="Roboto" panose="020B0604020202020204" charset="0"/>
              </a:rPr>
              <a:t>Embrace disruption, don’t let it destroy your value ! </a:t>
            </a:r>
            <a:endParaRPr lang="en-US" sz="4000" b="1" dirty="0"/>
          </a:p>
        </p:txBody>
      </p:sp>
      <p:grpSp>
        <p:nvGrpSpPr>
          <p:cNvPr id="17" name="Group 16"/>
          <p:cNvGrpSpPr/>
          <p:nvPr/>
        </p:nvGrpSpPr>
        <p:grpSpPr>
          <a:xfrm>
            <a:off x="10573046" y="0"/>
            <a:ext cx="1597721" cy="1615209"/>
            <a:chOff x="10594279" y="-15009"/>
            <a:chExt cx="1597721" cy="1615209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B2F1FD8C-26EA-47D2-8404-588BA4BBACEB}"/>
                </a:ext>
              </a:extLst>
            </p:cNvPr>
            <p:cNvGrpSpPr/>
            <p:nvPr/>
          </p:nvGrpSpPr>
          <p:grpSpPr>
            <a:xfrm>
              <a:off x="10594279" y="-15009"/>
              <a:ext cx="1597721" cy="1615209"/>
              <a:chOff x="10594279" y="-15009"/>
              <a:chExt cx="1597721" cy="1615209"/>
            </a:xfrm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36AD23A3-DE25-4538-8AC8-0E51F1E0581F}"/>
                  </a:ext>
                </a:extLst>
              </p:cNvPr>
              <p:cNvGrpSpPr/>
              <p:nvPr/>
            </p:nvGrpSpPr>
            <p:grpSpPr>
              <a:xfrm>
                <a:off x="10594279" y="-15009"/>
                <a:ext cx="1597721" cy="1615209"/>
                <a:chOff x="10594279" y="-15009"/>
                <a:chExt cx="1597721" cy="1615209"/>
              </a:xfrm>
            </p:grpSpPr>
            <p:sp>
              <p:nvSpPr>
                <p:cNvPr id="30" name="Right Triangle 29">
                  <a:extLst>
                    <a:ext uri="{FF2B5EF4-FFF2-40B4-BE49-F238E27FC236}">
                      <a16:creationId xmlns:a16="http://schemas.microsoft.com/office/drawing/2014/main" id="{0A03C037-AD20-47EE-8BE5-895488674BF0}"/>
                    </a:ext>
                  </a:extLst>
                </p:cNvPr>
                <p:cNvSpPr/>
                <p:nvPr/>
              </p:nvSpPr>
              <p:spPr bwMode="auto">
                <a:xfrm>
                  <a:off x="10594279" y="-15009"/>
                  <a:ext cx="1597660" cy="1600200"/>
                </a:xfrm>
                <a:prstGeom prst="rtTriangle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  <p:sp>
              <p:nvSpPr>
                <p:cNvPr id="31" name="Right Triangle 30">
                  <a:extLst>
                    <a:ext uri="{FF2B5EF4-FFF2-40B4-BE49-F238E27FC236}">
                      <a16:creationId xmlns:a16="http://schemas.microsoft.com/office/drawing/2014/main" id="{49F901B3-2A93-4ED2-A00E-BF69FF78C77C}"/>
                    </a:ext>
                  </a:extLst>
                </p:cNvPr>
                <p:cNvSpPr/>
                <p:nvPr/>
              </p:nvSpPr>
              <p:spPr bwMode="auto">
                <a:xfrm rot="10800000">
                  <a:off x="10594340" y="0"/>
                  <a:ext cx="1597660" cy="1600200"/>
                </a:xfrm>
                <a:prstGeom prst="rtTriangl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</p:grpSp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EDE04F49-697D-409B-BB11-F88A15AD54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3748"/>
              <a:stretch/>
            </p:blipFill>
            <p:spPr>
              <a:xfrm>
                <a:off x="11454726" y="301037"/>
                <a:ext cx="394374" cy="386940"/>
              </a:xfrm>
              <a:prstGeom prst="rect">
                <a:avLst/>
              </a:prstGeom>
            </p:spPr>
          </p:pic>
        </p:grp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F2355C5-7A7B-455B-A50F-FE6F7A77BAE4}"/>
                </a:ext>
              </a:extLst>
            </p:cNvPr>
            <p:cNvSpPr/>
            <p:nvPr/>
          </p:nvSpPr>
          <p:spPr bwMode="auto">
            <a:xfrm>
              <a:off x="11393109" y="261649"/>
              <a:ext cx="575745" cy="46571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entury Gothic" pitchFamily="34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269244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165CC22-03E5-44D4-AF90-0B9B575ACD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7348603"/>
              </p:ext>
            </p:extLst>
          </p:nvPr>
        </p:nvGraphicFramePr>
        <p:xfrm>
          <a:off x="-60" y="0"/>
          <a:ext cx="1735075" cy="6858000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526795">
                  <a:extLst>
                    <a:ext uri="{9D8B030D-6E8A-4147-A177-3AD203B41FA5}">
                      <a16:colId xmlns:a16="http://schemas.microsoft.com/office/drawing/2014/main" val="1225932609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165969625"/>
                    </a:ext>
                  </a:extLst>
                </a:gridCol>
              </a:tblGrid>
              <a:tr h="685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4000" b="1" i="0" kern="1200" dirty="0">
                          <a:solidFill>
                            <a:schemeClr val="dk1"/>
                          </a:solidFill>
                          <a:latin typeface="Futura CE Book" panose="02000504030000020003" pitchFamily="2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vert="vert27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1371600" marR="0" lvl="3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600" b="1" i="0" dirty="0">
                          <a:solidFill>
                            <a:srgbClr val="002060"/>
                          </a:solidFill>
                          <a:latin typeface="Futura CE Book" panose="02000504030000020003" pitchFamily="2" charset="0"/>
                        </a:rPr>
                        <a:t>                    </a:t>
                      </a:r>
                      <a:endParaRPr lang="de-AT" sz="1600" i="0" dirty="0">
                        <a:latin typeface="Futura CE Book" panose="02000504030000020003" pitchFamily="2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486999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7ECF4C5-B426-4B1B-9651-B5399180F612}"/>
              </a:ext>
            </a:extLst>
          </p:cNvPr>
          <p:cNvSpPr/>
          <p:nvPr/>
        </p:nvSpPr>
        <p:spPr>
          <a:xfrm rot="16200000">
            <a:off x="-175183" y="2635926"/>
            <a:ext cx="1499129" cy="9800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50000"/>
              </a:lnSpc>
              <a:defRPr/>
            </a:pPr>
            <a:r>
              <a:rPr lang="en-US" sz="4200" b="1" dirty="0">
                <a:solidFill>
                  <a:schemeClr val="dk1"/>
                </a:solidFill>
                <a:latin typeface="Futura CE Book" panose="02000504030000020003" pitchFamily="2" charset="0"/>
              </a:rPr>
              <a:t>Inside </a:t>
            </a:r>
          </a:p>
        </p:txBody>
      </p:sp>
      <p:sp>
        <p:nvSpPr>
          <p:cNvPr id="5" name="object 4">
            <a:extLst>
              <a:ext uri="{FF2B5EF4-FFF2-40B4-BE49-F238E27FC236}">
                <a16:creationId xmlns:a16="http://schemas.microsoft.com/office/drawing/2014/main" id="{8E4F8302-D26F-4926-BC91-1425835D4CFE}"/>
              </a:ext>
            </a:extLst>
          </p:cNvPr>
          <p:cNvSpPr/>
          <p:nvPr/>
        </p:nvSpPr>
        <p:spPr>
          <a:xfrm>
            <a:off x="2444416" y="724528"/>
            <a:ext cx="137160" cy="130700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/>
          <a:lstStyle/>
          <a:p>
            <a:endParaRPr dirty="0">
              <a:highlight>
                <a:srgbClr val="FFFF00"/>
              </a:highlight>
            </a:endParaRPr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8F635973-B9D7-4A5B-8D78-B14F8AE7C88B}"/>
              </a:ext>
            </a:extLst>
          </p:cNvPr>
          <p:cNvSpPr/>
          <p:nvPr/>
        </p:nvSpPr>
        <p:spPr>
          <a:xfrm>
            <a:off x="2444416" y="1369654"/>
            <a:ext cx="137160" cy="130700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id="{16304C6B-9439-4EA8-AE9C-B8BD99936FE6}"/>
              </a:ext>
            </a:extLst>
          </p:cNvPr>
          <p:cNvSpPr/>
          <p:nvPr/>
        </p:nvSpPr>
        <p:spPr>
          <a:xfrm>
            <a:off x="2444416" y="2802377"/>
            <a:ext cx="137160" cy="130700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59D5A977-C633-4311-B5D3-2528CFA4D375}"/>
              </a:ext>
            </a:extLst>
          </p:cNvPr>
          <p:cNvSpPr/>
          <p:nvPr/>
        </p:nvSpPr>
        <p:spPr>
          <a:xfrm>
            <a:off x="2456139" y="3495671"/>
            <a:ext cx="137160" cy="130700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4">
            <a:extLst>
              <a:ext uri="{FF2B5EF4-FFF2-40B4-BE49-F238E27FC236}">
                <a16:creationId xmlns:a16="http://schemas.microsoft.com/office/drawing/2014/main" id="{6CDC6C42-0668-46DC-9D9F-83396563E18E}"/>
              </a:ext>
            </a:extLst>
          </p:cNvPr>
          <p:cNvSpPr/>
          <p:nvPr/>
        </p:nvSpPr>
        <p:spPr>
          <a:xfrm>
            <a:off x="2467862" y="4888197"/>
            <a:ext cx="137160" cy="130700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4">
            <a:extLst>
              <a:ext uri="{FF2B5EF4-FFF2-40B4-BE49-F238E27FC236}">
                <a16:creationId xmlns:a16="http://schemas.microsoft.com/office/drawing/2014/main" id="{CB7E272D-5CB4-4206-AB16-F5D331DDEF93}"/>
              </a:ext>
            </a:extLst>
          </p:cNvPr>
          <p:cNvSpPr/>
          <p:nvPr/>
        </p:nvSpPr>
        <p:spPr>
          <a:xfrm>
            <a:off x="2467862" y="5542466"/>
            <a:ext cx="137160" cy="130700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>
            <a:off x="166255" y="6367324"/>
            <a:ext cx="3860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A Brave New World? The Future of Banking in Emerging Europe </a:t>
            </a:r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24" name="Slide Number Placeholder 19">
            <a:extLst>
              <a:ext uri="{FF2B5EF4-FFF2-40B4-BE49-F238E27FC236}">
                <a16:creationId xmlns:a16="http://schemas.microsoft.com/office/drawing/2014/main" id="{EE238113-639A-48D7-A13F-6F830A20D66C}"/>
              </a:ext>
            </a:extLst>
          </p:cNvPr>
          <p:cNvSpPr txBox="1">
            <a:spLocks/>
          </p:cNvSpPr>
          <p:nvPr/>
        </p:nvSpPr>
        <p:spPr>
          <a:xfrm>
            <a:off x="8737602" y="6356353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939B1FA-81F2-4940-9AF3-5EAFB5D6669B}" type="slidenum">
              <a:rPr lang="en-US" sz="800" smtClean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pPr algn="r"/>
              <a:t>2</a:t>
            </a:fld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10573046" y="0"/>
            <a:ext cx="1597721" cy="1615209"/>
            <a:chOff x="10594279" y="-15009"/>
            <a:chExt cx="1597721" cy="1615209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B2F1FD8C-26EA-47D2-8404-588BA4BBACEB}"/>
                </a:ext>
              </a:extLst>
            </p:cNvPr>
            <p:cNvGrpSpPr/>
            <p:nvPr/>
          </p:nvGrpSpPr>
          <p:grpSpPr>
            <a:xfrm>
              <a:off x="10594279" y="-15009"/>
              <a:ext cx="1597721" cy="1615209"/>
              <a:chOff x="10594279" y="-15009"/>
              <a:chExt cx="1597721" cy="1615209"/>
            </a:xfrm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36AD23A3-DE25-4538-8AC8-0E51F1E0581F}"/>
                  </a:ext>
                </a:extLst>
              </p:cNvPr>
              <p:cNvGrpSpPr/>
              <p:nvPr/>
            </p:nvGrpSpPr>
            <p:grpSpPr>
              <a:xfrm>
                <a:off x="10594279" y="-15009"/>
                <a:ext cx="1597721" cy="1615209"/>
                <a:chOff x="10594279" y="-15009"/>
                <a:chExt cx="1597721" cy="1615209"/>
              </a:xfrm>
            </p:grpSpPr>
            <p:sp>
              <p:nvSpPr>
                <p:cNvPr id="30" name="Right Triangle 29">
                  <a:extLst>
                    <a:ext uri="{FF2B5EF4-FFF2-40B4-BE49-F238E27FC236}">
                      <a16:creationId xmlns:a16="http://schemas.microsoft.com/office/drawing/2014/main" id="{0A03C037-AD20-47EE-8BE5-895488674BF0}"/>
                    </a:ext>
                  </a:extLst>
                </p:cNvPr>
                <p:cNvSpPr/>
                <p:nvPr/>
              </p:nvSpPr>
              <p:spPr bwMode="auto">
                <a:xfrm>
                  <a:off x="10594279" y="-15009"/>
                  <a:ext cx="1597660" cy="1600200"/>
                </a:xfrm>
                <a:prstGeom prst="rtTriangle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  <p:sp>
              <p:nvSpPr>
                <p:cNvPr id="31" name="Right Triangle 30">
                  <a:extLst>
                    <a:ext uri="{FF2B5EF4-FFF2-40B4-BE49-F238E27FC236}">
                      <a16:creationId xmlns:a16="http://schemas.microsoft.com/office/drawing/2014/main" id="{49F901B3-2A93-4ED2-A00E-BF69FF78C77C}"/>
                    </a:ext>
                  </a:extLst>
                </p:cNvPr>
                <p:cNvSpPr/>
                <p:nvPr/>
              </p:nvSpPr>
              <p:spPr bwMode="auto">
                <a:xfrm rot="10800000">
                  <a:off x="10594340" y="0"/>
                  <a:ext cx="1597660" cy="1600200"/>
                </a:xfrm>
                <a:prstGeom prst="rtTriangl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</p:grpSp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EDE04F49-697D-409B-BB11-F88A15AD54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3748"/>
              <a:stretch/>
            </p:blipFill>
            <p:spPr>
              <a:xfrm>
                <a:off x="11454726" y="301037"/>
                <a:ext cx="394374" cy="386940"/>
              </a:xfrm>
              <a:prstGeom prst="rect">
                <a:avLst/>
              </a:prstGeom>
            </p:spPr>
          </p:pic>
        </p:grp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7F2355C5-7A7B-455B-A50F-FE6F7A77BAE4}"/>
                </a:ext>
              </a:extLst>
            </p:cNvPr>
            <p:cNvSpPr/>
            <p:nvPr/>
          </p:nvSpPr>
          <p:spPr bwMode="auto">
            <a:xfrm>
              <a:off x="11393109" y="261649"/>
              <a:ext cx="575745" cy="46571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entury Gothic" pitchFamily="34" charset="0"/>
                <a:cs typeface="Arial" charset="0"/>
              </a:endParaRPr>
            </a:p>
          </p:txBody>
        </p:sp>
      </p:grpSp>
      <p:sp>
        <p:nvSpPr>
          <p:cNvPr id="19" name="Shape 489">
            <a:extLst>
              <a:ext uri="{FF2B5EF4-FFF2-40B4-BE49-F238E27FC236}">
                <a16:creationId xmlns:a16="http://schemas.microsoft.com/office/drawing/2014/main" id="{D8379862-CF93-4FB8-B419-C0A1400FE224}"/>
              </a:ext>
            </a:extLst>
          </p:cNvPr>
          <p:cNvSpPr txBox="1">
            <a:spLocks/>
          </p:cNvSpPr>
          <p:nvPr/>
        </p:nvSpPr>
        <p:spPr>
          <a:xfrm>
            <a:off x="2823210" y="338196"/>
            <a:ext cx="7886700" cy="5700730"/>
          </a:xfrm>
          <a:prstGeom prst="rect">
            <a:avLst/>
          </a:prstGeom>
        </p:spPr>
        <p:txBody>
          <a:bodyPr vert="horz" wrap="square" lIns="45688" tIns="45688" rIns="45688" bIns="45688" rtlCol="0" anchor="t" anchorCtr="0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en-GB" sz="2400" b="1" i="0" u="none" strike="noStrike" kern="1200" cap="none" spc="0" baseline="0">
                <a:solidFill>
                  <a:schemeClr val="tx1"/>
                </a:solidFill>
                <a:uFillTx/>
                <a:latin typeface="Futura" panose="000004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en" sz="3000" dirty="0">
                <a:latin typeface="Futura CE Book" panose="02000504030000020003"/>
                <a:ea typeface="Roboto Condensed" panose="02000000000000000000" pitchFamily="2" charset="0"/>
              </a:rPr>
              <a:t>Banks must adopt to low interest rates</a:t>
            </a:r>
          </a:p>
          <a:p>
            <a:pPr>
              <a:lnSpc>
                <a:spcPct val="150000"/>
              </a:lnSpc>
            </a:pPr>
            <a:r>
              <a:rPr lang="en-GB" sz="3000" dirty="0">
                <a:latin typeface="Futura CE Book" panose="02000504030000020003"/>
                <a:ea typeface="Roboto Condensed" panose="02000000000000000000" pitchFamily="2" charset="0"/>
              </a:rPr>
              <a:t>Reduction of branches, staff and ATMs</a:t>
            </a:r>
          </a:p>
          <a:p>
            <a:pPr>
              <a:lnSpc>
                <a:spcPct val="150000"/>
              </a:lnSpc>
            </a:pPr>
            <a:r>
              <a:rPr lang="en-GB" sz="3000" dirty="0">
                <a:latin typeface="Futura CE Book" panose="02000504030000020003"/>
                <a:ea typeface="Roboto Condensed" panose="02000000000000000000" pitchFamily="2" charset="0"/>
              </a:rPr>
              <a:t>Increasing digitization</a:t>
            </a:r>
          </a:p>
          <a:p>
            <a:pPr>
              <a:lnSpc>
                <a:spcPct val="150000"/>
              </a:lnSpc>
            </a:pPr>
            <a:r>
              <a:rPr lang="en-GB" sz="3000" dirty="0">
                <a:latin typeface="Futura CE Book" panose="02000504030000020003"/>
                <a:ea typeface="Roboto Condensed" panose="02000000000000000000" pitchFamily="2" charset="0"/>
              </a:rPr>
              <a:t>Emergence of technology banks</a:t>
            </a:r>
          </a:p>
          <a:p>
            <a:pPr>
              <a:lnSpc>
                <a:spcPct val="150000"/>
              </a:lnSpc>
            </a:pPr>
            <a:r>
              <a:rPr lang="en-GB" sz="3000" dirty="0">
                <a:latin typeface="Futura CE Book" panose="02000504030000020003"/>
                <a:ea typeface="Roboto Condensed" panose="02000000000000000000" pitchFamily="2" charset="0"/>
              </a:rPr>
              <a:t>From cash to electronic payments</a:t>
            </a:r>
          </a:p>
          <a:p>
            <a:pPr>
              <a:lnSpc>
                <a:spcPct val="150000"/>
              </a:lnSpc>
            </a:pPr>
            <a:r>
              <a:rPr lang="en-GB" sz="3000" dirty="0">
                <a:latin typeface="Futura CE Book" panose="02000504030000020003"/>
                <a:ea typeface="Roboto Condensed" panose="02000000000000000000" pitchFamily="2" charset="0"/>
              </a:rPr>
              <a:t>Traditional banks to focus on advisory</a:t>
            </a:r>
          </a:p>
          <a:p>
            <a:pPr>
              <a:lnSpc>
                <a:spcPct val="150000"/>
              </a:lnSpc>
            </a:pPr>
            <a:r>
              <a:rPr lang="en-GB" sz="3000" dirty="0">
                <a:latin typeface="Futura CE Book" panose="02000504030000020003"/>
                <a:ea typeface="Roboto Condensed" panose="02000000000000000000" pitchFamily="2" charset="0"/>
              </a:rPr>
              <a:t>Increased regulation affects banks returns</a:t>
            </a:r>
          </a:p>
          <a:p>
            <a:pPr>
              <a:lnSpc>
                <a:spcPct val="150000"/>
              </a:lnSpc>
            </a:pPr>
            <a:r>
              <a:rPr lang="en-GB" sz="3000" dirty="0">
                <a:latin typeface="Futura CE Book" panose="02000504030000020003"/>
                <a:ea typeface="Roboto Condensed" panose="02000000000000000000" pitchFamily="2" charset="0"/>
              </a:rPr>
              <a:t>Emergence of cryptocurrencies</a:t>
            </a:r>
          </a:p>
          <a:p>
            <a:pPr>
              <a:lnSpc>
                <a:spcPct val="150000"/>
              </a:lnSpc>
            </a:pPr>
            <a:r>
              <a:rPr lang="en" dirty="0">
                <a:solidFill>
                  <a:schemeClr val="tx1">
                    <a:lumMod val="65000"/>
                    <a:lumOff val="35000"/>
                  </a:schemeClr>
                </a:solidFill>
                <a:latin typeface="Futura CE Book" panose="02000504030000020003"/>
                <a:ea typeface="Roboto Condensed" panose="02000000000000000000" pitchFamily="2" charset="0"/>
              </a:rPr>
              <a:t> </a:t>
            </a:r>
          </a:p>
          <a:p>
            <a:pPr>
              <a:lnSpc>
                <a:spcPct val="150000"/>
              </a:lnSpc>
            </a:pPr>
            <a:endParaRPr lang="en" dirty="0">
              <a:solidFill>
                <a:schemeClr val="tx1">
                  <a:lumMod val="65000"/>
                  <a:lumOff val="35000"/>
                </a:schemeClr>
              </a:solidFill>
              <a:latin typeface="Futura CE Book" panose="02000504030000020003"/>
              <a:ea typeface="Roboto Condensed" panose="02000000000000000000" pitchFamily="2" charset="0"/>
            </a:endParaRPr>
          </a:p>
        </p:txBody>
      </p:sp>
      <p:sp>
        <p:nvSpPr>
          <p:cNvPr id="20" name="object 4">
            <a:extLst>
              <a:ext uri="{FF2B5EF4-FFF2-40B4-BE49-F238E27FC236}">
                <a16:creationId xmlns:a16="http://schemas.microsoft.com/office/drawing/2014/main" id="{6CDC6C42-0668-46DC-9D9F-83396563E18E}"/>
              </a:ext>
            </a:extLst>
          </p:cNvPr>
          <p:cNvSpPr/>
          <p:nvPr/>
        </p:nvSpPr>
        <p:spPr>
          <a:xfrm>
            <a:off x="2467862" y="4173386"/>
            <a:ext cx="137160" cy="130700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4">
            <a:extLst>
              <a:ext uri="{FF2B5EF4-FFF2-40B4-BE49-F238E27FC236}">
                <a16:creationId xmlns:a16="http://schemas.microsoft.com/office/drawing/2014/main" id="{6CDC6C42-0668-46DC-9D9F-83396563E18E}"/>
              </a:ext>
            </a:extLst>
          </p:cNvPr>
          <p:cNvSpPr/>
          <p:nvPr/>
        </p:nvSpPr>
        <p:spPr>
          <a:xfrm>
            <a:off x="2444416" y="2083747"/>
            <a:ext cx="137160" cy="130700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4">
            <a:extLst>
              <a:ext uri="{FF2B5EF4-FFF2-40B4-BE49-F238E27FC236}">
                <a16:creationId xmlns:a16="http://schemas.microsoft.com/office/drawing/2014/main" id="{8E4F8302-D26F-4926-BC91-1425835D4CFE}"/>
              </a:ext>
            </a:extLst>
          </p:cNvPr>
          <p:cNvSpPr/>
          <p:nvPr/>
        </p:nvSpPr>
        <p:spPr>
          <a:xfrm>
            <a:off x="11659748" y="6597681"/>
            <a:ext cx="367367" cy="17901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/>
          <a:lstStyle/>
          <a:p>
            <a:endParaRPr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7841145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165CC22-03E5-44D4-AF90-0B9B575ACD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3799896"/>
              </p:ext>
            </p:extLst>
          </p:nvPr>
        </p:nvGraphicFramePr>
        <p:xfrm>
          <a:off x="933" y="-26732"/>
          <a:ext cx="12192000" cy="6858000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548289">
                  <a:extLst>
                    <a:ext uri="{9D8B030D-6E8A-4147-A177-3AD203B41FA5}">
                      <a16:colId xmlns:a16="http://schemas.microsoft.com/office/drawing/2014/main" val="1225932609"/>
                    </a:ext>
                  </a:extLst>
                </a:gridCol>
                <a:gridCol w="10643711">
                  <a:extLst>
                    <a:ext uri="{9D8B030D-6E8A-4147-A177-3AD203B41FA5}">
                      <a16:colId xmlns:a16="http://schemas.microsoft.com/office/drawing/2014/main" val="165969625"/>
                    </a:ext>
                  </a:extLst>
                </a:gridCol>
              </a:tblGrid>
              <a:tr h="685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4000" b="1" i="0" kern="1200" dirty="0">
                        <a:solidFill>
                          <a:schemeClr val="dk1"/>
                        </a:solidFill>
                        <a:latin typeface="Futura CE Book" panose="02000504030000020003" pitchFamily="2" charset="0"/>
                        <a:ea typeface="+mn-ea"/>
                        <a:cs typeface="+mn-cs"/>
                      </a:endParaRPr>
                    </a:p>
                  </a:txBody>
                  <a:tcPr vert="vert27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1371600" marR="0" lvl="3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de-AT" sz="1600" i="0" dirty="0">
                        <a:latin typeface="Futura CE Book" panose="02000504030000020003" pitchFamily="2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486999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7ECF4C5-B426-4B1B-9651-B5399180F612}"/>
              </a:ext>
            </a:extLst>
          </p:cNvPr>
          <p:cNvSpPr/>
          <p:nvPr/>
        </p:nvSpPr>
        <p:spPr>
          <a:xfrm rot="16200000">
            <a:off x="-1589902" y="2997616"/>
            <a:ext cx="4782078" cy="7687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50000"/>
              </a:lnSpc>
              <a:defRPr/>
            </a:pPr>
            <a:r>
              <a:rPr lang="en-US" sz="3200" dirty="0">
                <a:solidFill>
                  <a:schemeClr val="dk1"/>
                </a:solidFill>
                <a:latin typeface="Futura CE Book" panose="02000504030000020003" pitchFamily="2" charset="0"/>
              </a:rPr>
              <a:t>Expanding Digital Capabilities</a:t>
            </a:r>
          </a:p>
        </p:txBody>
      </p:sp>
      <p:sp>
        <p:nvSpPr>
          <p:cNvPr id="23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>
            <a:off x="166255" y="6367324"/>
            <a:ext cx="3860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A Brave New World? The Future of Banking in Emerging Europe </a:t>
            </a:r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24" name="Slide Number Placeholder 19">
            <a:extLst>
              <a:ext uri="{FF2B5EF4-FFF2-40B4-BE49-F238E27FC236}">
                <a16:creationId xmlns:a16="http://schemas.microsoft.com/office/drawing/2014/main" id="{EE238113-639A-48D7-A13F-6F830A20D66C}"/>
              </a:ext>
            </a:extLst>
          </p:cNvPr>
          <p:cNvSpPr txBox="1">
            <a:spLocks/>
          </p:cNvSpPr>
          <p:nvPr/>
        </p:nvSpPr>
        <p:spPr>
          <a:xfrm>
            <a:off x="8737602" y="6356353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939B1FA-81F2-4940-9AF3-5EAFB5D6669B}" type="slidenum">
              <a:rPr lang="en-US" sz="800" smtClean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pPr algn="r"/>
              <a:t>20</a:t>
            </a:fld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id="{27B37E1D-FCD7-48CE-A647-BF2E1392071C}"/>
              </a:ext>
            </a:extLst>
          </p:cNvPr>
          <p:cNvSpPr txBox="1"/>
          <p:nvPr/>
        </p:nvSpPr>
        <p:spPr>
          <a:xfrm>
            <a:off x="2112562" y="940549"/>
            <a:ext cx="3472895" cy="72075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519">
              <a:lnSpc>
                <a:spcPct val="150000"/>
              </a:lnSpc>
            </a:pPr>
            <a:r>
              <a:rPr lang="en-US" sz="3000" dirty="0">
                <a:latin typeface="Futura CE Book" panose="02000504030000020003" pitchFamily="2" charset="0"/>
                <a:cs typeface="Arial"/>
              </a:rPr>
              <a:t>Banking is changing…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C1ABFB-D037-41C9-85D5-7FAE06753ACF}"/>
              </a:ext>
            </a:extLst>
          </p:cNvPr>
          <p:cNvSpPr/>
          <p:nvPr/>
        </p:nvSpPr>
        <p:spPr bwMode="auto">
          <a:xfrm>
            <a:off x="1689347" y="1753695"/>
            <a:ext cx="10159753" cy="106238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entury Gothic" pitchFamily="34" charset="0"/>
              <a:cs typeface="Arial" charset="0"/>
            </a:endParaRPr>
          </a:p>
        </p:txBody>
      </p:sp>
      <p:pic>
        <p:nvPicPr>
          <p:cNvPr id="13" name="Picture 12" descr="Képtalálat a következőre: „card payment”">
            <a:hlinkClick r:id="rId3"/>
            <a:extLst>
              <a:ext uri="{FF2B5EF4-FFF2-40B4-BE49-F238E27FC236}">
                <a16:creationId xmlns:a16="http://schemas.microsoft.com/office/drawing/2014/main" id="{BAF1EFB6-ED8F-4930-9FFD-781EA39B19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00982" y="2212258"/>
            <a:ext cx="1268729" cy="85462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object 3">
            <a:extLst>
              <a:ext uri="{FF2B5EF4-FFF2-40B4-BE49-F238E27FC236}">
                <a16:creationId xmlns:a16="http://schemas.microsoft.com/office/drawing/2014/main" id="{D84FDEE2-D433-442A-B0C3-06AA954BE3D0}"/>
              </a:ext>
            </a:extLst>
          </p:cNvPr>
          <p:cNvSpPr/>
          <p:nvPr/>
        </p:nvSpPr>
        <p:spPr>
          <a:xfrm>
            <a:off x="6784955" y="5442204"/>
            <a:ext cx="1623060" cy="141579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6">
            <a:extLst>
              <a:ext uri="{FF2B5EF4-FFF2-40B4-BE49-F238E27FC236}">
                <a16:creationId xmlns:a16="http://schemas.microsoft.com/office/drawing/2014/main" id="{FCE019CF-97F5-4260-A08E-E306A6934F84}"/>
              </a:ext>
            </a:extLst>
          </p:cNvPr>
          <p:cNvSpPr/>
          <p:nvPr/>
        </p:nvSpPr>
        <p:spPr>
          <a:xfrm>
            <a:off x="3721722" y="4665266"/>
            <a:ext cx="1279397" cy="95478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2">
            <a:extLst>
              <a:ext uri="{FF2B5EF4-FFF2-40B4-BE49-F238E27FC236}">
                <a16:creationId xmlns:a16="http://schemas.microsoft.com/office/drawing/2014/main" id="{4CEA17B3-5023-4A0D-8E2F-41E972D3E6B2}"/>
              </a:ext>
            </a:extLst>
          </p:cNvPr>
          <p:cNvSpPr/>
          <p:nvPr/>
        </p:nvSpPr>
        <p:spPr>
          <a:xfrm>
            <a:off x="4582019" y="2765466"/>
            <a:ext cx="3716274" cy="19431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3">
            <a:extLst>
              <a:ext uri="{FF2B5EF4-FFF2-40B4-BE49-F238E27FC236}">
                <a16:creationId xmlns:a16="http://schemas.microsoft.com/office/drawing/2014/main" id="{FF2720C8-8276-4CF5-AF30-BFD279B2BADF}"/>
              </a:ext>
            </a:extLst>
          </p:cNvPr>
          <p:cNvSpPr/>
          <p:nvPr/>
        </p:nvSpPr>
        <p:spPr>
          <a:xfrm>
            <a:off x="4763375" y="4675800"/>
            <a:ext cx="3355073" cy="121920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7">
            <a:extLst>
              <a:ext uri="{FF2B5EF4-FFF2-40B4-BE49-F238E27FC236}">
                <a16:creationId xmlns:a16="http://schemas.microsoft.com/office/drawing/2014/main" id="{0CD8A5DD-3BC4-4382-AE00-B62F5496DE2D}"/>
              </a:ext>
            </a:extLst>
          </p:cNvPr>
          <p:cNvSpPr/>
          <p:nvPr/>
        </p:nvSpPr>
        <p:spPr>
          <a:xfrm>
            <a:off x="5715875" y="4892209"/>
            <a:ext cx="1447800" cy="246125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9">
            <a:extLst>
              <a:ext uri="{FF2B5EF4-FFF2-40B4-BE49-F238E27FC236}">
                <a16:creationId xmlns:a16="http://schemas.microsoft.com/office/drawing/2014/main" id="{D4686B17-A273-4B73-B657-33C841448021}"/>
              </a:ext>
            </a:extLst>
          </p:cNvPr>
          <p:cNvSpPr/>
          <p:nvPr/>
        </p:nvSpPr>
        <p:spPr>
          <a:xfrm>
            <a:off x="5535281" y="3160183"/>
            <a:ext cx="1809750" cy="1809750"/>
          </a:xfrm>
          <a:custGeom>
            <a:avLst/>
            <a:gdLst/>
            <a:ahLst/>
            <a:cxnLst/>
            <a:rect l="l" t="t" r="r" b="b"/>
            <a:pathLst>
              <a:path w="1809750" h="1809750">
                <a:moveTo>
                  <a:pt x="1809750" y="904494"/>
                </a:moveTo>
                <a:lnTo>
                  <a:pt x="1808494" y="856427"/>
                </a:lnTo>
                <a:lnTo>
                  <a:pt x="1804771" y="809017"/>
                </a:lnTo>
                <a:lnTo>
                  <a:pt x="1798642" y="762326"/>
                </a:lnTo>
                <a:lnTo>
                  <a:pt x="1790169" y="716417"/>
                </a:lnTo>
                <a:lnTo>
                  <a:pt x="1779416" y="671352"/>
                </a:lnTo>
                <a:lnTo>
                  <a:pt x="1766445" y="627193"/>
                </a:lnTo>
                <a:lnTo>
                  <a:pt x="1751319" y="584002"/>
                </a:lnTo>
                <a:lnTo>
                  <a:pt x="1734100" y="541843"/>
                </a:lnTo>
                <a:lnTo>
                  <a:pt x="1714851" y="500777"/>
                </a:lnTo>
                <a:lnTo>
                  <a:pt x="1693635" y="460866"/>
                </a:lnTo>
                <a:lnTo>
                  <a:pt x="1670513" y="422173"/>
                </a:lnTo>
                <a:lnTo>
                  <a:pt x="1645550" y="384760"/>
                </a:lnTo>
                <a:lnTo>
                  <a:pt x="1618807" y="348689"/>
                </a:lnTo>
                <a:lnTo>
                  <a:pt x="1590346" y="314023"/>
                </a:lnTo>
                <a:lnTo>
                  <a:pt x="1560232" y="280824"/>
                </a:lnTo>
                <a:lnTo>
                  <a:pt x="1528525" y="249155"/>
                </a:lnTo>
                <a:lnTo>
                  <a:pt x="1495290" y="219077"/>
                </a:lnTo>
                <a:lnTo>
                  <a:pt x="1460587" y="190653"/>
                </a:lnTo>
                <a:lnTo>
                  <a:pt x="1424481" y="163945"/>
                </a:lnTo>
                <a:lnTo>
                  <a:pt x="1387034" y="139016"/>
                </a:lnTo>
                <a:lnTo>
                  <a:pt x="1348308" y="115928"/>
                </a:lnTo>
                <a:lnTo>
                  <a:pt x="1308366" y="94742"/>
                </a:lnTo>
                <a:lnTo>
                  <a:pt x="1267270" y="75523"/>
                </a:lnTo>
                <a:lnTo>
                  <a:pt x="1225084" y="58331"/>
                </a:lnTo>
                <a:lnTo>
                  <a:pt x="1181869" y="43229"/>
                </a:lnTo>
                <a:lnTo>
                  <a:pt x="1137688" y="30280"/>
                </a:lnTo>
                <a:lnTo>
                  <a:pt x="1092605" y="19545"/>
                </a:lnTo>
                <a:lnTo>
                  <a:pt x="1046681" y="11087"/>
                </a:lnTo>
                <a:lnTo>
                  <a:pt x="999980" y="4969"/>
                </a:lnTo>
                <a:lnTo>
                  <a:pt x="952563" y="1252"/>
                </a:lnTo>
                <a:lnTo>
                  <a:pt x="904494" y="0"/>
                </a:lnTo>
                <a:lnTo>
                  <a:pt x="856496" y="1252"/>
                </a:lnTo>
                <a:lnTo>
                  <a:pt x="809146" y="4969"/>
                </a:lnTo>
                <a:lnTo>
                  <a:pt x="762506" y="11087"/>
                </a:lnTo>
                <a:lnTo>
                  <a:pt x="716641" y="19545"/>
                </a:lnTo>
                <a:lnTo>
                  <a:pt x="671611" y="30280"/>
                </a:lnTo>
                <a:lnTo>
                  <a:pt x="627481" y="43229"/>
                </a:lnTo>
                <a:lnTo>
                  <a:pt x="584312" y="58331"/>
                </a:lnTo>
                <a:lnTo>
                  <a:pt x="542168" y="75523"/>
                </a:lnTo>
                <a:lnTo>
                  <a:pt x="501111" y="94742"/>
                </a:lnTo>
                <a:lnTo>
                  <a:pt x="461204" y="115928"/>
                </a:lnTo>
                <a:lnTo>
                  <a:pt x="422510" y="139016"/>
                </a:lnTo>
                <a:lnTo>
                  <a:pt x="385092" y="163945"/>
                </a:lnTo>
                <a:lnTo>
                  <a:pt x="349012" y="190653"/>
                </a:lnTo>
                <a:lnTo>
                  <a:pt x="314334" y="219077"/>
                </a:lnTo>
                <a:lnTo>
                  <a:pt x="281119" y="249155"/>
                </a:lnTo>
                <a:lnTo>
                  <a:pt x="249431" y="280824"/>
                </a:lnTo>
                <a:lnTo>
                  <a:pt x="219333" y="314023"/>
                </a:lnTo>
                <a:lnTo>
                  <a:pt x="190886" y="348689"/>
                </a:lnTo>
                <a:lnTo>
                  <a:pt x="164155" y="384760"/>
                </a:lnTo>
                <a:lnTo>
                  <a:pt x="139202" y="422173"/>
                </a:lnTo>
                <a:lnTo>
                  <a:pt x="116089" y="460866"/>
                </a:lnTo>
                <a:lnTo>
                  <a:pt x="94879" y="500777"/>
                </a:lnTo>
                <a:lnTo>
                  <a:pt x="75636" y="541843"/>
                </a:lnTo>
                <a:lnTo>
                  <a:pt x="58421" y="584002"/>
                </a:lnTo>
                <a:lnTo>
                  <a:pt x="43298" y="627193"/>
                </a:lnTo>
                <a:lnTo>
                  <a:pt x="30329" y="671352"/>
                </a:lnTo>
                <a:lnTo>
                  <a:pt x="19578" y="716417"/>
                </a:lnTo>
                <a:lnTo>
                  <a:pt x="11107" y="762326"/>
                </a:lnTo>
                <a:lnTo>
                  <a:pt x="4978" y="809017"/>
                </a:lnTo>
                <a:lnTo>
                  <a:pt x="1255" y="856427"/>
                </a:lnTo>
                <a:lnTo>
                  <a:pt x="0" y="904494"/>
                </a:lnTo>
                <a:lnTo>
                  <a:pt x="1255" y="952563"/>
                </a:lnTo>
                <a:lnTo>
                  <a:pt x="4978" y="999980"/>
                </a:lnTo>
                <a:lnTo>
                  <a:pt x="11107" y="1046681"/>
                </a:lnTo>
                <a:lnTo>
                  <a:pt x="19578" y="1092605"/>
                </a:lnTo>
                <a:lnTo>
                  <a:pt x="30329" y="1137688"/>
                </a:lnTo>
                <a:lnTo>
                  <a:pt x="43298" y="1181869"/>
                </a:lnTo>
                <a:lnTo>
                  <a:pt x="58421" y="1225084"/>
                </a:lnTo>
                <a:lnTo>
                  <a:pt x="75636" y="1267270"/>
                </a:lnTo>
                <a:lnTo>
                  <a:pt x="94879" y="1308366"/>
                </a:lnTo>
                <a:lnTo>
                  <a:pt x="116089" y="1348308"/>
                </a:lnTo>
                <a:lnTo>
                  <a:pt x="139202" y="1387034"/>
                </a:lnTo>
                <a:lnTo>
                  <a:pt x="164155" y="1424481"/>
                </a:lnTo>
                <a:lnTo>
                  <a:pt x="190886" y="1460587"/>
                </a:lnTo>
                <a:lnTo>
                  <a:pt x="219333" y="1495290"/>
                </a:lnTo>
                <a:lnTo>
                  <a:pt x="249431" y="1528525"/>
                </a:lnTo>
                <a:lnTo>
                  <a:pt x="281119" y="1560232"/>
                </a:lnTo>
                <a:lnTo>
                  <a:pt x="314334" y="1590346"/>
                </a:lnTo>
                <a:lnTo>
                  <a:pt x="349012" y="1618807"/>
                </a:lnTo>
                <a:lnTo>
                  <a:pt x="385092" y="1645550"/>
                </a:lnTo>
                <a:lnTo>
                  <a:pt x="422510" y="1670513"/>
                </a:lnTo>
                <a:lnTo>
                  <a:pt x="461204" y="1693635"/>
                </a:lnTo>
                <a:lnTo>
                  <a:pt x="501111" y="1714851"/>
                </a:lnTo>
                <a:lnTo>
                  <a:pt x="542168" y="1734100"/>
                </a:lnTo>
                <a:lnTo>
                  <a:pt x="584312" y="1751319"/>
                </a:lnTo>
                <a:lnTo>
                  <a:pt x="627481" y="1766445"/>
                </a:lnTo>
                <a:lnTo>
                  <a:pt x="671611" y="1779416"/>
                </a:lnTo>
                <a:lnTo>
                  <a:pt x="716641" y="1790169"/>
                </a:lnTo>
                <a:lnTo>
                  <a:pt x="762506" y="1798642"/>
                </a:lnTo>
                <a:lnTo>
                  <a:pt x="809146" y="1804771"/>
                </a:lnTo>
                <a:lnTo>
                  <a:pt x="856496" y="1808494"/>
                </a:lnTo>
                <a:lnTo>
                  <a:pt x="904494" y="1809750"/>
                </a:lnTo>
                <a:lnTo>
                  <a:pt x="952563" y="1808494"/>
                </a:lnTo>
                <a:lnTo>
                  <a:pt x="999980" y="1804771"/>
                </a:lnTo>
                <a:lnTo>
                  <a:pt x="1046681" y="1798642"/>
                </a:lnTo>
                <a:lnTo>
                  <a:pt x="1092605" y="1790169"/>
                </a:lnTo>
                <a:lnTo>
                  <a:pt x="1137688" y="1779416"/>
                </a:lnTo>
                <a:lnTo>
                  <a:pt x="1181869" y="1766445"/>
                </a:lnTo>
                <a:lnTo>
                  <a:pt x="1225084" y="1751319"/>
                </a:lnTo>
                <a:lnTo>
                  <a:pt x="1267270" y="1734100"/>
                </a:lnTo>
                <a:lnTo>
                  <a:pt x="1308366" y="1714851"/>
                </a:lnTo>
                <a:lnTo>
                  <a:pt x="1348308" y="1693635"/>
                </a:lnTo>
                <a:lnTo>
                  <a:pt x="1387034" y="1670513"/>
                </a:lnTo>
                <a:lnTo>
                  <a:pt x="1424481" y="1645550"/>
                </a:lnTo>
                <a:lnTo>
                  <a:pt x="1460587" y="1618807"/>
                </a:lnTo>
                <a:lnTo>
                  <a:pt x="1495290" y="1590346"/>
                </a:lnTo>
                <a:lnTo>
                  <a:pt x="1528525" y="1560232"/>
                </a:lnTo>
                <a:lnTo>
                  <a:pt x="1560232" y="1528525"/>
                </a:lnTo>
                <a:lnTo>
                  <a:pt x="1590346" y="1495290"/>
                </a:lnTo>
                <a:lnTo>
                  <a:pt x="1618807" y="1460587"/>
                </a:lnTo>
                <a:lnTo>
                  <a:pt x="1645550" y="1424481"/>
                </a:lnTo>
                <a:lnTo>
                  <a:pt x="1670513" y="1387034"/>
                </a:lnTo>
                <a:lnTo>
                  <a:pt x="1693635" y="1348308"/>
                </a:lnTo>
                <a:lnTo>
                  <a:pt x="1714851" y="1308366"/>
                </a:lnTo>
                <a:lnTo>
                  <a:pt x="1734100" y="1267270"/>
                </a:lnTo>
                <a:lnTo>
                  <a:pt x="1751319" y="1225084"/>
                </a:lnTo>
                <a:lnTo>
                  <a:pt x="1766445" y="1181869"/>
                </a:lnTo>
                <a:lnTo>
                  <a:pt x="1779416" y="1137688"/>
                </a:lnTo>
                <a:lnTo>
                  <a:pt x="1790169" y="1092605"/>
                </a:lnTo>
                <a:lnTo>
                  <a:pt x="1798642" y="1046681"/>
                </a:lnTo>
                <a:lnTo>
                  <a:pt x="1804771" y="999980"/>
                </a:lnTo>
                <a:lnTo>
                  <a:pt x="1808494" y="952563"/>
                </a:lnTo>
                <a:lnTo>
                  <a:pt x="1809750" y="90449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10">
            <a:extLst>
              <a:ext uri="{FF2B5EF4-FFF2-40B4-BE49-F238E27FC236}">
                <a16:creationId xmlns:a16="http://schemas.microsoft.com/office/drawing/2014/main" id="{BA837F25-94F2-44A4-98F7-2A69FDF8E816}"/>
              </a:ext>
            </a:extLst>
          </p:cNvPr>
          <p:cNvSpPr/>
          <p:nvPr/>
        </p:nvSpPr>
        <p:spPr>
          <a:xfrm>
            <a:off x="5522327" y="3147238"/>
            <a:ext cx="1835785" cy="1835785"/>
          </a:xfrm>
          <a:custGeom>
            <a:avLst/>
            <a:gdLst/>
            <a:ahLst/>
            <a:cxnLst/>
            <a:rect l="l" t="t" r="r" b="b"/>
            <a:pathLst>
              <a:path w="1835785" h="1835785">
                <a:moveTo>
                  <a:pt x="1835658" y="917438"/>
                </a:moveTo>
                <a:lnTo>
                  <a:pt x="1834133" y="870194"/>
                </a:lnTo>
                <a:lnTo>
                  <a:pt x="1830324" y="823712"/>
                </a:lnTo>
                <a:lnTo>
                  <a:pt x="1824989" y="777230"/>
                </a:lnTo>
                <a:lnTo>
                  <a:pt x="1816341" y="729985"/>
                </a:lnTo>
                <a:lnTo>
                  <a:pt x="1805357" y="683652"/>
                </a:lnTo>
                <a:lnTo>
                  <a:pt x="1792105" y="638293"/>
                </a:lnTo>
                <a:lnTo>
                  <a:pt x="1776649" y="593967"/>
                </a:lnTo>
                <a:lnTo>
                  <a:pt x="1759056" y="550739"/>
                </a:lnTo>
                <a:lnTo>
                  <a:pt x="1739392" y="508668"/>
                </a:lnTo>
                <a:lnTo>
                  <a:pt x="1717722" y="467816"/>
                </a:lnTo>
                <a:lnTo>
                  <a:pt x="1694113" y="428244"/>
                </a:lnTo>
                <a:lnTo>
                  <a:pt x="1668630" y="390015"/>
                </a:lnTo>
                <a:lnTo>
                  <a:pt x="1641339" y="353190"/>
                </a:lnTo>
                <a:lnTo>
                  <a:pt x="1612307" y="317830"/>
                </a:lnTo>
                <a:lnTo>
                  <a:pt x="1581599" y="283996"/>
                </a:lnTo>
                <a:lnTo>
                  <a:pt x="1549281" y="251751"/>
                </a:lnTo>
                <a:lnTo>
                  <a:pt x="1515419" y="221155"/>
                </a:lnTo>
                <a:lnTo>
                  <a:pt x="1480078" y="192271"/>
                </a:lnTo>
                <a:lnTo>
                  <a:pt x="1443326" y="165159"/>
                </a:lnTo>
                <a:lnTo>
                  <a:pt x="1405227" y="139882"/>
                </a:lnTo>
                <a:lnTo>
                  <a:pt x="1365848" y="116500"/>
                </a:lnTo>
                <a:lnTo>
                  <a:pt x="1325254" y="95075"/>
                </a:lnTo>
                <a:lnTo>
                  <a:pt x="1283353" y="75604"/>
                </a:lnTo>
                <a:lnTo>
                  <a:pt x="1240513" y="58282"/>
                </a:lnTo>
                <a:lnTo>
                  <a:pt x="1196845" y="43158"/>
                </a:lnTo>
                <a:lnTo>
                  <a:pt x="1152052" y="30177"/>
                </a:lnTo>
                <a:lnTo>
                  <a:pt x="1106375" y="19461"/>
                </a:lnTo>
                <a:lnTo>
                  <a:pt x="1059878" y="11070"/>
                </a:lnTo>
                <a:lnTo>
                  <a:pt x="1012628" y="5068"/>
                </a:lnTo>
                <a:lnTo>
                  <a:pt x="965454" y="1570"/>
                </a:lnTo>
                <a:lnTo>
                  <a:pt x="918210" y="14"/>
                </a:lnTo>
                <a:lnTo>
                  <a:pt x="917150" y="0"/>
                </a:lnTo>
                <a:lnTo>
                  <a:pt x="870204" y="1514"/>
                </a:lnTo>
                <a:lnTo>
                  <a:pt x="822415" y="5071"/>
                </a:lnTo>
                <a:lnTo>
                  <a:pt x="775260" y="11093"/>
                </a:lnTo>
                <a:lnTo>
                  <a:pt x="728872" y="19505"/>
                </a:lnTo>
                <a:lnTo>
                  <a:pt x="683255" y="30256"/>
                </a:lnTo>
                <a:lnTo>
                  <a:pt x="638499" y="43281"/>
                </a:lnTo>
                <a:lnTo>
                  <a:pt x="594672" y="58515"/>
                </a:lnTo>
                <a:lnTo>
                  <a:pt x="551845" y="75897"/>
                </a:lnTo>
                <a:lnTo>
                  <a:pt x="510084" y="95364"/>
                </a:lnTo>
                <a:lnTo>
                  <a:pt x="469459" y="116852"/>
                </a:lnTo>
                <a:lnTo>
                  <a:pt x="430039" y="140301"/>
                </a:lnTo>
                <a:lnTo>
                  <a:pt x="391891" y="165646"/>
                </a:lnTo>
                <a:lnTo>
                  <a:pt x="355085" y="192825"/>
                </a:lnTo>
                <a:lnTo>
                  <a:pt x="319690" y="221776"/>
                </a:lnTo>
                <a:lnTo>
                  <a:pt x="285773" y="252435"/>
                </a:lnTo>
                <a:lnTo>
                  <a:pt x="253404" y="284741"/>
                </a:lnTo>
                <a:lnTo>
                  <a:pt x="222651" y="318630"/>
                </a:lnTo>
                <a:lnTo>
                  <a:pt x="193583" y="354039"/>
                </a:lnTo>
                <a:lnTo>
                  <a:pt x="166268" y="390907"/>
                </a:lnTo>
                <a:lnTo>
                  <a:pt x="140775" y="429170"/>
                </a:lnTo>
                <a:lnTo>
                  <a:pt x="117174" y="468767"/>
                </a:lnTo>
                <a:lnTo>
                  <a:pt x="95531" y="509633"/>
                </a:lnTo>
                <a:lnTo>
                  <a:pt x="75917" y="551706"/>
                </a:lnTo>
                <a:lnTo>
                  <a:pt x="58399" y="594925"/>
                </a:lnTo>
                <a:lnTo>
                  <a:pt x="43047" y="639225"/>
                </a:lnTo>
                <a:lnTo>
                  <a:pt x="29928" y="684545"/>
                </a:lnTo>
                <a:lnTo>
                  <a:pt x="19112" y="730821"/>
                </a:lnTo>
                <a:lnTo>
                  <a:pt x="10667" y="777992"/>
                </a:lnTo>
                <a:lnTo>
                  <a:pt x="4571" y="823712"/>
                </a:lnTo>
                <a:lnTo>
                  <a:pt x="1523" y="870956"/>
                </a:lnTo>
                <a:lnTo>
                  <a:pt x="0" y="918200"/>
                </a:lnTo>
                <a:lnTo>
                  <a:pt x="1524" y="965444"/>
                </a:lnTo>
                <a:lnTo>
                  <a:pt x="5334" y="1011926"/>
                </a:lnTo>
                <a:lnTo>
                  <a:pt x="10668" y="1057646"/>
                </a:lnTo>
                <a:lnTo>
                  <a:pt x="19050" y="1102604"/>
                </a:lnTo>
                <a:lnTo>
                  <a:pt x="25908" y="1132064"/>
                </a:lnTo>
                <a:lnTo>
                  <a:pt x="25908" y="917438"/>
                </a:lnTo>
                <a:lnTo>
                  <a:pt x="26669" y="870956"/>
                </a:lnTo>
                <a:lnTo>
                  <a:pt x="30479" y="825998"/>
                </a:lnTo>
                <a:lnTo>
                  <a:pt x="35813" y="781040"/>
                </a:lnTo>
                <a:lnTo>
                  <a:pt x="44613" y="733170"/>
                </a:lnTo>
                <a:lnTo>
                  <a:pt x="55857" y="686307"/>
                </a:lnTo>
                <a:lnTo>
                  <a:pt x="69471" y="640514"/>
                </a:lnTo>
                <a:lnTo>
                  <a:pt x="85383" y="595854"/>
                </a:lnTo>
                <a:lnTo>
                  <a:pt x="103520" y="552389"/>
                </a:lnTo>
                <a:lnTo>
                  <a:pt x="123810" y="510182"/>
                </a:lnTo>
                <a:lnTo>
                  <a:pt x="146180" y="469295"/>
                </a:lnTo>
                <a:lnTo>
                  <a:pt x="170556" y="429790"/>
                </a:lnTo>
                <a:lnTo>
                  <a:pt x="196866" y="391731"/>
                </a:lnTo>
                <a:lnTo>
                  <a:pt x="225038" y="355180"/>
                </a:lnTo>
                <a:lnTo>
                  <a:pt x="254999" y="320200"/>
                </a:lnTo>
                <a:lnTo>
                  <a:pt x="286675" y="286852"/>
                </a:lnTo>
                <a:lnTo>
                  <a:pt x="319994" y="255200"/>
                </a:lnTo>
                <a:lnTo>
                  <a:pt x="354883" y="225306"/>
                </a:lnTo>
                <a:lnTo>
                  <a:pt x="391269" y="197233"/>
                </a:lnTo>
                <a:lnTo>
                  <a:pt x="429080" y="171043"/>
                </a:lnTo>
                <a:lnTo>
                  <a:pt x="468243" y="146799"/>
                </a:lnTo>
                <a:lnTo>
                  <a:pt x="508685" y="124563"/>
                </a:lnTo>
                <a:lnTo>
                  <a:pt x="550334" y="104398"/>
                </a:lnTo>
                <a:lnTo>
                  <a:pt x="593115" y="86366"/>
                </a:lnTo>
                <a:lnTo>
                  <a:pt x="636957" y="70531"/>
                </a:lnTo>
                <a:lnTo>
                  <a:pt x="681788" y="56954"/>
                </a:lnTo>
                <a:lnTo>
                  <a:pt x="727533" y="45698"/>
                </a:lnTo>
                <a:lnTo>
                  <a:pt x="774121" y="36825"/>
                </a:lnTo>
                <a:lnTo>
                  <a:pt x="821478" y="30399"/>
                </a:lnTo>
                <a:lnTo>
                  <a:pt x="868757" y="26545"/>
                </a:lnTo>
                <a:lnTo>
                  <a:pt x="918210" y="25136"/>
                </a:lnTo>
                <a:lnTo>
                  <a:pt x="963168" y="26634"/>
                </a:lnTo>
                <a:lnTo>
                  <a:pt x="1009650" y="29708"/>
                </a:lnTo>
                <a:lnTo>
                  <a:pt x="1057656" y="36006"/>
                </a:lnTo>
                <a:lnTo>
                  <a:pt x="1104755" y="44797"/>
                </a:lnTo>
                <a:lnTo>
                  <a:pt x="1151010" y="56035"/>
                </a:lnTo>
                <a:lnTo>
                  <a:pt x="1196308" y="69643"/>
                </a:lnTo>
                <a:lnTo>
                  <a:pt x="1240687" y="85597"/>
                </a:lnTo>
                <a:lnTo>
                  <a:pt x="1283741" y="103687"/>
                </a:lnTo>
                <a:lnTo>
                  <a:pt x="1325764" y="123999"/>
                </a:lnTo>
                <a:lnTo>
                  <a:pt x="1366623" y="146457"/>
                </a:lnTo>
                <a:lnTo>
                  <a:pt x="1405908" y="170772"/>
                </a:lnTo>
                <a:lnTo>
                  <a:pt x="1443948" y="197126"/>
                </a:lnTo>
                <a:lnTo>
                  <a:pt x="1480527" y="225359"/>
                </a:lnTo>
                <a:lnTo>
                  <a:pt x="1515574" y="255401"/>
                </a:lnTo>
                <a:lnTo>
                  <a:pt x="1549017" y="287183"/>
                </a:lnTo>
                <a:lnTo>
                  <a:pt x="1580784" y="320634"/>
                </a:lnTo>
                <a:lnTo>
                  <a:pt x="1610804" y="355684"/>
                </a:lnTo>
                <a:lnTo>
                  <a:pt x="1639004" y="392263"/>
                </a:lnTo>
                <a:lnTo>
                  <a:pt x="1665313" y="430302"/>
                </a:lnTo>
                <a:lnTo>
                  <a:pt x="1689660" y="469729"/>
                </a:lnTo>
                <a:lnTo>
                  <a:pt x="1711973" y="510476"/>
                </a:lnTo>
                <a:lnTo>
                  <a:pt x="1732179" y="552472"/>
                </a:lnTo>
                <a:lnTo>
                  <a:pt x="1750208" y="595647"/>
                </a:lnTo>
                <a:lnTo>
                  <a:pt x="1765988" y="639932"/>
                </a:lnTo>
                <a:lnTo>
                  <a:pt x="1779446" y="685255"/>
                </a:lnTo>
                <a:lnTo>
                  <a:pt x="1790512" y="731548"/>
                </a:lnTo>
                <a:lnTo>
                  <a:pt x="1799113" y="778739"/>
                </a:lnTo>
                <a:lnTo>
                  <a:pt x="1805177" y="826760"/>
                </a:lnTo>
                <a:lnTo>
                  <a:pt x="1808988" y="871718"/>
                </a:lnTo>
                <a:lnTo>
                  <a:pt x="1809750" y="918200"/>
                </a:lnTo>
                <a:lnTo>
                  <a:pt x="1809750" y="1133142"/>
                </a:lnTo>
                <a:lnTo>
                  <a:pt x="1816190" y="1105830"/>
                </a:lnTo>
                <a:lnTo>
                  <a:pt x="1824599" y="1059460"/>
                </a:lnTo>
                <a:lnTo>
                  <a:pt x="1830601" y="1012387"/>
                </a:lnTo>
                <a:lnTo>
                  <a:pt x="1834133" y="964682"/>
                </a:lnTo>
                <a:lnTo>
                  <a:pt x="1835658" y="917438"/>
                </a:lnTo>
                <a:close/>
              </a:path>
              <a:path w="1835785" h="1835785">
                <a:moveTo>
                  <a:pt x="1809750" y="1133142"/>
                </a:moveTo>
                <a:lnTo>
                  <a:pt x="1809750" y="918200"/>
                </a:lnTo>
                <a:lnTo>
                  <a:pt x="1808988" y="963920"/>
                </a:lnTo>
                <a:lnTo>
                  <a:pt x="1805177" y="1008878"/>
                </a:lnTo>
                <a:lnTo>
                  <a:pt x="1799032" y="1056964"/>
                </a:lnTo>
                <a:lnTo>
                  <a:pt x="1790364" y="1104210"/>
                </a:lnTo>
                <a:lnTo>
                  <a:pt x="1779243" y="1150545"/>
                </a:lnTo>
                <a:lnTo>
                  <a:pt x="1765741" y="1195901"/>
                </a:lnTo>
                <a:lnTo>
                  <a:pt x="1749928" y="1240207"/>
                </a:lnTo>
                <a:lnTo>
                  <a:pt x="1731874" y="1283394"/>
                </a:lnTo>
                <a:lnTo>
                  <a:pt x="1711650" y="1325393"/>
                </a:lnTo>
                <a:lnTo>
                  <a:pt x="1689326" y="1366134"/>
                </a:lnTo>
                <a:lnTo>
                  <a:pt x="1664973" y="1405548"/>
                </a:lnTo>
                <a:lnTo>
                  <a:pt x="1638662" y="1443565"/>
                </a:lnTo>
                <a:lnTo>
                  <a:pt x="1610463" y="1480116"/>
                </a:lnTo>
                <a:lnTo>
                  <a:pt x="1580447" y="1515131"/>
                </a:lnTo>
                <a:lnTo>
                  <a:pt x="1548684" y="1548541"/>
                </a:lnTo>
                <a:lnTo>
                  <a:pt x="1515244" y="1580276"/>
                </a:lnTo>
                <a:lnTo>
                  <a:pt x="1480078" y="1610359"/>
                </a:lnTo>
                <a:lnTo>
                  <a:pt x="1443618" y="1638443"/>
                </a:lnTo>
                <a:lnTo>
                  <a:pt x="1405572" y="1664737"/>
                </a:lnTo>
                <a:lnTo>
                  <a:pt x="1366133" y="1689078"/>
                </a:lnTo>
                <a:lnTo>
                  <a:pt x="1325254" y="1711452"/>
                </a:lnTo>
                <a:lnTo>
                  <a:pt x="1283353" y="1731624"/>
                </a:lnTo>
                <a:lnTo>
                  <a:pt x="1240154" y="1749689"/>
                </a:lnTo>
                <a:lnTo>
                  <a:pt x="1195842" y="1765525"/>
                </a:lnTo>
                <a:lnTo>
                  <a:pt x="1150490" y="1779059"/>
                </a:lnTo>
                <a:lnTo>
                  <a:pt x="1104166" y="1790225"/>
                </a:lnTo>
                <a:lnTo>
                  <a:pt x="1056942" y="1798951"/>
                </a:lnTo>
                <a:lnTo>
                  <a:pt x="1008888" y="1805168"/>
                </a:lnTo>
                <a:lnTo>
                  <a:pt x="963168" y="1808216"/>
                </a:lnTo>
                <a:lnTo>
                  <a:pt x="918210" y="1809714"/>
                </a:lnTo>
                <a:lnTo>
                  <a:pt x="917150" y="1809732"/>
                </a:lnTo>
                <a:lnTo>
                  <a:pt x="868757" y="1808400"/>
                </a:lnTo>
                <a:lnTo>
                  <a:pt x="820688" y="1804484"/>
                </a:lnTo>
                <a:lnTo>
                  <a:pt x="773313" y="1798052"/>
                </a:lnTo>
                <a:lnTo>
                  <a:pt x="726704" y="1789166"/>
                </a:lnTo>
                <a:lnTo>
                  <a:pt x="680936" y="1777888"/>
                </a:lnTo>
                <a:lnTo>
                  <a:pt x="636081" y="1764280"/>
                </a:lnTo>
                <a:lnTo>
                  <a:pt x="592213" y="1748401"/>
                </a:lnTo>
                <a:lnTo>
                  <a:pt x="549404" y="1730315"/>
                </a:lnTo>
                <a:lnTo>
                  <a:pt x="507728" y="1710082"/>
                </a:lnTo>
                <a:lnTo>
                  <a:pt x="467258" y="1687764"/>
                </a:lnTo>
                <a:lnTo>
                  <a:pt x="428067" y="1663423"/>
                </a:lnTo>
                <a:lnTo>
                  <a:pt x="390228" y="1637119"/>
                </a:lnTo>
                <a:lnTo>
                  <a:pt x="353815" y="1608915"/>
                </a:lnTo>
                <a:lnTo>
                  <a:pt x="318900" y="1578871"/>
                </a:lnTo>
                <a:lnTo>
                  <a:pt x="285557" y="1547050"/>
                </a:lnTo>
                <a:lnTo>
                  <a:pt x="253859" y="1513513"/>
                </a:lnTo>
                <a:lnTo>
                  <a:pt x="223879" y="1478321"/>
                </a:lnTo>
                <a:lnTo>
                  <a:pt x="195689" y="1441536"/>
                </a:lnTo>
                <a:lnTo>
                  <a:pt x="169364" y="1403218"/>
                </a:lnTo>
                <a:lnTo>
                  <a:pt x="144977" y="1363431"/>
                </a:lnTo>
                <a:lnTo>
                  <a:pt x="122600" y="1322234"/>
                </a:lnTo>
                <a:lnTo>
                  <a:pt x="102307" y="1279690"/>
                </a:lnTo>
                <a:lnTo>
                  <a:pt x="84170" y="1235861"/>
                </a:lnTo>
                <a:lnTo>
                  <a:pt x="68264" y="1190806"/>
                </a:lnTo>
                <a:lnTo>
                  <a:pt x="54660" y="1144589"/>
                </a:lnTo>
                <a:lnTo>
                  <a:pt x="43434" y="1097270"/>
                </a:lnTo>
                <a:lnTo>
                  <a:pt x="35814" y="1053074"/>
                </a:lnTo>
                <a:lnTo>
                  <a:pt x="30480" y="1008116"/>
                </a:lnTo>
                <a:lnTo>
                  <a:pt x="26670" y="963158"/>
                </a:lnTo>
                <a:lnTo>
                  <a:pt x="25908" y="917438"/>
                </a:lnTo>
                <a:lnTo>
                  <a:pt x="25908" y="1132064"/>
                </a:lnTo>
                <a:lnTo>
                  <a:pt x="43261" y="1195612"/>
                </a:lnTo>
                <a:lnTo>
                  <a:pt x="58762" y="1240452"/>
                </a:lnTo>
                <a:lnTo>
                  <a:pt x="76431" y="1284109"/>
                </a:lnTo>
                <a:lnTo>
                  <a:pt x="96196" y="1326529"/>
                </a:lnTo>
                <a:lnTo>
                  <a:pt x="117987" y="1367656"/>
                </a:lnTo>
                <a:lnTo>
                  <a:pt x="141733" y="1407435"/>
                </a:lnTo>
                <a:lnTo>
                  <a:pt x="167361" y="1445812"/>
                </a:lnTo>
                <a:lnTo>
                  <a:pt x="194800" y="1482731"/>
                </a:lnTo>
                <a:lnTo>
                  <a:pt x="223980" y="1518137"/>
                </a:lnTo>
                <a:lnTo>
                  <a:pt x="254828" y="1551976"/>
                </a:lnTo>
                <a:lnTo>
                  <a:pt x="287274" y="1584193"/>
                </a:lnTo>
                <a:lnTo>
                  <a:pt x="321246" y="1614732"/>
                </a:lnTo>
                <a:lnTo>
                  <a:pt x="356673" y="1643538"/>
                </a:lnTo>
                <a:lnTo>
                  <a:pt x="393483" y="1670557"/>
                </a:lnTo>
                <a:lnTo>
                  <a:pt x="431605" y="1695734"/>
                </a:lnTo>
                <a:lnTo>
                  <a:pt x="470968" y="1719013"/>
                </a:lnTo>
                <a:lnTo>
                  <a:pt x="511501" y="1740339"/>
                </a:lnTo>
                <a:lnTo>
                  <a:pt x="553132" y="1759658"/>
                </a:lnTo>
                <a:lnTo>
                  <a:pt x="595789" y="1776915"/>
                </a:lnTo>
                <a:lnTo>
                  <a:pt x="639402" y="1792054"/>
                </a:lnTo>
                <a:lnTo>
                  <a:pt x="683899" y="1805021"/>
                </a:lnTo>
                <a:lnTo>
                  <a:pt x="729209" y="1815761"/>
                </a:lnTo>
                <a:lnTo>
                  <a:pt x="775281" y="1824221"/>
                </a:lnTo>
                <a:lnTo>
                  <a:pt x="821478" y="1830272"/>
                </a:lnTo>
                <a:lnTo>
                  <a:pt x="868757" y="1834023"/>
                </a:lnTo>
                <a:lnTo>
                  <a:pt x="917150" y="1835346"/>
                </a:lnTo>
                <a:lnTo>
                  <a:pt x="965454" y="1834124"/>
                </a:lnTo>
                <a:lnTo>
                  <a:pt x="1011936" y="1830314"/>
                </a:lnTo>
                <a:lnTo>
                  <a:pt x="1057656" y="1824218"/>
                </a:lnTo>
                <a:lnTo>
                  <a:pt x="1104755" y="1815906"/>
                </a:lnTo>
                <a:lnTo>
                  <a:pt x="1151010" y="1805185"/>
                </a:lnTo>
                <a:lnTo>
                  <a:pt x="1196308" y="1792137"/>
                </a:lnTo>
                <a:lnTo>
                  <a:pt x="1240687" y="1776793"/>
                </a:lnTo>
                <a:lnTo>
                  <a:pt x="1283741" y="1759367"/>
                </a:lnTo>
                <a:lnTo>
                  <a:pt x="1325764" y="1739787"/>
                </a:lnTo>
                <a:lnTo>
                  <a:pt x="1366623" y="1718147"/>
                </a:lnTo>
                <a:lnTo>
                  <a:pt x="1406219" y="1694531"/>
                </a:lnTo>
                <a:lnTo>
                  <a:pt x="1444489" y="1669013"/>
                </a:lnTo>
                <a:lnTo>
                  <a:pt x="1481369" y="1641661"/>
                </a:lnTo>
                <a:lnTo>
                  <a:pt x="1516797" y="1612547"/>
                </a:lnTo>
                <a:lnTo>
                  <a:pt x="1550707" y="1581741"/>
                </a:lnTo>
                <a:lnTo>
                  <a:pt x="1583037" y="1549314"/>
                </a:lnTo>
                <a:lnTo>
                  <a:pt x="1613723" y="1515337"/>
                </a:lnTo>
                <a:lnTo>
                  <a:pt x="1642702" y="1479880"/>
                </a:lnTo>
                <a:lnTo>
                  <a:pt x="1669910" y="1443013"/>
                </a:lnTo>
                <a:lnTo>
                  <a:pt x="1695283" y="1404809"/>
                </a:lnTo>
                <a:lnTo>
                  <a:pt x="1718758" y="1365336"/>
                </a:lnTo>
                <a:lnTo>
                  <a:pt x="1740272" y="1324666"/>
                </a:lnTo>
                <a:lnTo>
                  <a:pt x="1759760" y="1282869"/>
                </a:lnTo>
                <a:lnTo>
                  <a:pt x="1777159" y="1240017"/>
                </a:lnTo>
                <a:lnTo>
                  <a:pt x="1792407" y="1196179"/>
                </a:lnTo>
                <a:lnTo>
                  <a:pt x="1805438" y="1151426"/>
                </a:lnTo>
                <a:lnTo>
                  <a:pt x="1809750" y="1133142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11">
            <a:extLst>
              <a:ext uri="{FF2B5EF4-FFF2-40B4-BE49-F238E27FC236}">
                <a16:creationId xmlns:a16="http://schemas.microsoft.com/office/drawing/2014/main" id="{06519B7B-04D3-4113-A105-E010DD1FFE3C}"/>
              </a:ext>
            </a:extLst>
          </p:cNvPr>
          <p:cNvSpPr/>
          <p:nvPr/>
        </p:nvSpPr>
        <p:spPr>
          <a:xfrm>
            <a:off x="7522577" y="3404785"/>
            <a:ext cx="1243965" cy="1243965"/>
          </a:xfrm>
          <a:custGeom>
            <a:avLst/>
            <a:gdLst/>
            <a:ahLst/>
            <a:cxnLst/>
            <a:rect l="l" t="t" r="r" b="b"/>
            <a:pathLst>
              <a:path w="1243965" h="1243964">
                <a:moveTo>
                  <a:pt x="1243584" y="621791"/>
                </a:moveTo>
                <a:lnTo>
                  <a:pt x="1241709" y="573166"/>
                </a:lnTo>
                <a:lnTo>
                  <a:pt x="1236180" y="525569"/>
                </a:lnTo>
                <a:lnTo>
                  <a:pt x="1227135" y="479140"/>
                </a:lnTo>
                <a:lnTo>
                  <a:pt x="1214713" y="434015"/>
                </a:lnTo>
                <a:lnTo>
                  <a:pt x="1199053" y="390333"/>
                </a:lnTo>
                <a:lnTo>
                  <a:pt x="1180295" y="348231"/>
                </a:lnTo>
                <a:lnTo>
                  <a:pt x="1158578" y="307847"/>
                </a:lnTo>
                <a:lnTo>
                  <a:pt x="1134041" y="269319"/>
                </a:lnTo>
                <a:lnTo>
                  <a:pt x="1106823" y="232785"/>
                </a:lnTo>
                <a:lnTo>
                  <a:pt x="1077064" y="198382"/>
                </a:lnTo>
                <a:lnTo>
                  <a:pt x="1044903" y="166247"/>
                </a:lnTo>
                <a:lnTo>
                  <a:pt x="1010478" y="136520"/>
                </a:lnTo>
                <a:lnTo>
                  <a:pt x="973930" y="109337"/>
                </a:lnTo>
                <a:lnTo>
                  <a:pt x="935397" y="84835"/>
                </a:lnTo>
                <a:lnTo>
                  <a:pt x="895018" y="63154"/>
                </a:lnTo>
                <a:lnTo>
                  <a:pt x="852934" y="44431"/>
                </a:lnTo>
                <a:lnTo>
                  <a:pt x="809283" y="28803"/>
                </a:lnTo>
                <a:lnTo>
                  <a:pt x="764203" y="16408"/>
                </a:lnTo>
                <a:lnTo>
                  <a:pt x="717836" y="7384"/>
                </a:lnTo>
                <a:lnTo>
                  <a:pt x="670319" y="1869"/>
                </a:lnTo>
                <a:lnTo>
                  <a:pt x="621792" y="0"/>
                </a:lnTo>
                <a:lnTo>
                  <a:pt x="573166" y="1869"/>
                </a:lnTo>
                <a:lnTo>
                  <a:pt x="525569" y="7384"/>
                </a:lnTo>
                <a:lnTo>
                  <a:pt x="479140" y="16408"/>
                </a:lnTo>
                <a:lnTo>
                  <a:pt x="434015" y="28803"/>
                </a:lnTo>
                <a:lnTo>
                  <a:pt x="390333" y="44431"/>
                </a:lnTo>
                <a:lnTo>
                  <a:pt x="348231" y="63154"/>
                </a:lnTo>
                <a:lnTo>
                  <a:pt x="307847" y="84835"/>
                </a:lnTo>
                <a:lnTo>
                  <a:pt x="269319" y="109337"/>
                </a:lnTo>
                <a:lnTo>
                  <a:pt x="232785" y="136520"/>
                </a:lnTo>
                <a:lnTo>
                  <a:pt x="198382" y="166247"/>
                </a:lnTo>
                <a:lnTo>
                  <a:pt x="166247" y="198382"/>
                </a:lnTo>
                <a:lnTo>
                  <a:pt x="136520" y="232785"/>
                </a:lnTo>
                <a:lnTo>
                  <a:pt x="109337" y="269319"/>
                </a:lnTo>
                <a:lnTo>
                  <a:pt x="84835" y="307847"/>
                </a:lnTo>
                <a:lnTo>
                  <a:pt x="63154" y="348231"/>
                </a:lnTo>
                <a:lnTo>
                  <a:pt x="44431" y="390333"/>
                </a:lnTo>
                <a:lnTo>
                  <a:pt x="28803" y="434015"/>
                </a:lnTo>
                <a:lnTo>
                  <a:pt x="16408" y="479140"/>
                </a:lnTo>
                <a:lnTo>
                  <a:pt x="7384" y="525569"/>
                </a:lnTo>
                <a:lnTo>
                  <a:pt x="1869" y="573166"/>
                </a:lnTo>
                <a:lnTo>
                  <a:pt x="0" y="621791"/>
                </a:lnTo>
                <a:lnTo>
                  <a:pt x="1869" y="670319"/>
                </a:lnTo>
                <a:lnTo>
                  <a:pt x="7384" y="717836"/>
                </a:lnTo>
                <a:lnTo>
                  <a:pt x="16408" y="764203"/>
                </a:lnTo>
                <a:lnTo>
                  <a:pt x="28803" y="809283"/>
                </a:lnTo>
                <a:lnTo>
                  <a:pt x="44431" y="852934"/>
                </a:lnTo>
                <a:lnTo>
                  <a:pt x="63154" y="895018"/>
                </a:lnTo>
                <a:lnTo>
                  <a:pt x="84836" y="935397"/>
                </a:lnTo>
                <a:lnTo>
                  <a:pt x="109337" y="973930"/>
                </a:lnTo>
                <a:lnTo>
                  <a:pt x="136520" y="1010478"/>
                </a:lnTo>
                <a:lnTo>
                  <a:pt x="166247" y="1044903"/>
                </a:lnTo>
                <a:lnTo>
                  <a:pt x="198382" y="1077064"/>
                </a:lnTo>
                <a:lnTo>
                  <a:pt x="232785" y="1106823"/>
                </a:lnTo>
                <a:lnTo>
                  <a:pt x="269319" y="1134041"/>
                </a:lnTo>
                <a:lnTo>
                  <a:pt x="307848" y="1158578"/>
                </a:lnTo>
                <a:lnTo>
                  <a:pt x="348231" y="1180295"/>
                </a:lnTo>
                <a:lnTo>
                  <a:pt x="390333" y="1199053"/>
                </a:lnTo>
                <a:lnTo>
                  <a:pt x="434015" y="1214713"/>
                </a:lnTo>
                <a:lnTo>
                  <a:pt x="479140" y="1227135"/>
                </a:lnTo>
                <a:lnTo>
                  <a:pt x="525569" y="1236180"/>
                </a:lnTo>
                <a:lnTo>
                  <a:pt x="573166" y="1241709"/>
                </a:lnTo>
                <a:lnTo>
                  <a:pt x="621792" y="1243583"/>
                </a:lnTo>
                <a:lnTo>
                  <a:pt x="670319" y="1241709"/>
                </a:lnTo>
                <a:lnTo>
                  <a:pt x="717836" y="1236180"/>
                </a:lnTo>
                <a:lnTo>
                  <a:pt x="764203" y="1227135"/>
                </a:lnTo>
                <a:lnTo>
                  <a:pt x="809283" y="1214713"/>
                </a:lnTo>
                <a:lnTo>
                  <a:pt x="852934" y="1199053"/>
                </a:lnTo>
                <a:lnTo>
                  <a:pt x="895018" y="1180295"/>
                </a:lnTo>
                <a:lnTo>
                  <a:pt x="935397" y="1158578"/>
                </a:lnTo>
                <a:lnTo>
                  <a:pt x="973930" y="1134041"/>
                </a:lnTo>
                <a:lnTo>
                  <a:pt x="1010478" y="1106823"/>
                </a:lnTo>
                <a:lnTo>
                  <a:pt x="1044903" y="1077064"/>
                </a:lnTo>
                <a:lnTo>
                  <a:pt x="1077064" y="1044903"/>
                </a:lnTo>
                <a:lnTo>
                  <a:pt x="1106823" y="1010478"/>
                </a:lnTo>
                <a:lnTo>
                  <a:pt x="1134041" y="973930"/>
                </a:lnTo>
                <a:lnTo>
                  <a:pt x="1158578" y="935397"/>
                </a:lnTo>
                <a:lnTo>
                  <a:pt x="1180295" y="895018"/>
                </a:lnTo>
                <a:lnTo>
                  <a:pt x="1199053" y="852934"/>
                </a:lnTo>
                <a:lnTo>
                  <a:pt x="1214713" y="809283"/>
                </a:lnTo>
                <a:lnTo>
                  <a:pt x="1227135" y="764203"/>
                </a:lnTo>
                <a:lnTo>
                  <a:pt x="1236180" y="717836"/>
                </a:lnTo>
                <a:lnTo>
                  <a:pt x="1241709" y="670319"/>
                </a:lnTo>
                <a:lnTo>
                  <a:pt x="1243584" y="62179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12">
            <a:extLst>
              <a:ext uri="{FF2B5EF4-FFF2-40B4-BE49-F238E27FC236}">
                <a16:creationId xmlns:a16="http://schemas.microsoft.com/office/drawing/2014/main" id="{A343D0A0-B3A1-42AE-9B82-2A97DFB48BDE}"/>
              </a:ext>
            </a:extLst>
          </p:cNvPr>
          <p:cNvSpPr/>
          <p:nvPr/>
        </p:nvSpPr>
        <p:spPr>
          <a:xfrm>
            <a:off x="7509623" y="3391830"/>
            <a:ext cx="1268730" cy="1268730"/>
          </a:xfrm>
          <a:custGeom>
            <a:avLst/>
            <a:gdLst/>
            <a:ahLst/>
            <a:cxnLst/>
            <a:rect l="l" t="t" r="r" b="b"/>
            <a:pathLst>
              <a:path w="1268729" h="1268729">
                <a:moveTo>
                  <a:pt x="12953" y="621791"/>
                </a:moveTo>
                <a:lnTo>
                  <a:pt x="9905" y="621791"/>
                </a:lnTo>
                <a:lnTo>
                  <a:pt x="6095" y="623315"/>
                </a:lnTo>
                <a:lnTo>
                  <a:pt x="1523" y="627887"/>
                </a:lnTo>
                <a:lnTo>
                  <a:pt x="0" y="631697"/>
                </a:lnTo>
                <a:lnTo>
                  <a:pt x="0" y="634745"/>
                </a:lnTo>
                <a:lnTo>
                  <a:pt x="761" y="651509"/>
                </a:lnTo>
                <a:lnTo>
                  <a:pt x="761" y="634745"/>
                </a:lnTo>
                <a:lnTo>
                  <a:pt x="12953" y="621791"/>
                </a:lnTo>
                <a:close/>
              </a:path>
              <a:path w="1268729" h="1268729">
                <a:moveTo>
                  <a:pt x="1268729" y="650747"/>
                </a:moveTo>
                <a:lnTo>
                  <a:pt x="1268729" y="617981"/>
                </a:lnTo>
                <a:lnTo>
                  <a:pt x="1267967" y="601979"/>
                </a:lnTo>
                <a:lnTo>
                  <a:pt x="1263674" y="552962"/>
                </a:lnTo>
                <a:lnTo>
                  <a:pt x="1255704" y="505089"/>
                </a:lnTo>
                <a:lnTo>
                  <a:pt x="1244203" y="458504"/>
                </a:lnTo>
                <a:lnTo>
                  <a:pt x="1229319" y="413347"/>
                </a:lnTo>
                <a:lnTo>
                  <a:pt x="1211198" y="369761"/>
                </a:lnTo>
                <a:lnTo>
                  <a:pt x="1189987" y="327887"/>
                </a:lnTo>
                <a:lnTo>
                  <a:pt x="1165833" y="287867"/>
                </a:lnTo>
                <a:lnTo>
                  <a:pt x="1138848" y="249802"/>
                </a:lnTo>
                <a:lnTo>
                  <a:pt x="1109281" y="213955"/>
                </a:lnTo>
                <a:lnTo>
                  <a:pt x="1077177" y="180346"/>
                </a:lnTo>
                <a:lnTo>
                  <a:pt x="1042717" y="149158"/>
                </a:lnTo>
                <a:lnTo>
                  <a:pt x="1006047" y="120531"/>
                </a:lnTo>
                <a:lnTo>
                  <a:pt x="967314" y="94609"/>
                </a:lnTo>
                <a:lnTo>
                  <a:pt x="926665" y="71532"/>
                </a:lnTo>
                <a:lnTo>
                  <a:pt x="884246" y="51443"/>
                </a:lnTo>
                <a:lnTo>
                  <a:pt x="840205" y="34482"/>
                </a:lnTo>
                <a:lnTo>
                  <a:pt x="794688" y="20792"/>
                </a:lnTo>
                <a:lnTo>
                  <a:pt x="747841" y="10514"/>
                </a:lnTo>
                <a:lnTo>
                  <a:pt x="699812" y="3790"/>
                </a:lnTo>
                <a:lnTo>
                  <a:pt x="649985" y="725"/>
                </a:lnTo>
                <a:lnTo>
                  <a:pt x="634745" y="0"/>
                </a:lnTo>
                <a:lnTo>
                  <a:pt x="617981" y="761"/>
                </a:lnTo>
                <a:lnTo>
                  <a:pt x="569860" y="3673"/>
                </a:lnTo>
                <a:lnTo>
                  <a:pt x="522720" y="10173"/>
                </a:lnTo>
                <a:lnTo>
                  <a:pt x="476703" y="20125"/>
                </a:lnTo>
                <a:lnTo>
                  <a:pt x="431950" y="33393"/>
                </a:lnTo>
                <a:lnTo>
                  <a:pt x="388600" y="49843"/>
                </a:lnTo>
                <a:lnTo>
                  <a:pt x="346794" y="69337"/>
                </a:lnTo>
                <a:lnTo>
                  <a:pt x="306672" y="91741"/>
                </a:lnTo>
                <a:lnTo>
                  <a:pt x="268376" y="116918"/>
                </a:lnTo>
                <a:lnTo>
                  <a:pt x="232045" y="144733"/>
                </a:lnTo>
                <a:lnTo>
                  <a:pt x="197819" y="175050"/>
                </a:lnTo>
                <a:lnTo>
                  <a:pt x="165840" y="207734"/>
                </a:lnTo>
                <a:lnTo>
                  <a:pt x="136248" y="242648"/>
                </a:lnTo>
                <a:lnTo>
                  <a:pt x="109183" y="279657"/>
                </a:lnTo>
                <a:lnTo>
                  <a:pt x="84786" y="318625"/>
                </a:lnTo>
                <a:lnTo>
                  <a:pt x="63196" y="359417"/>
                </a:lnTo>
                <a:lnTo>
                  <a:pt x="44555" y="401897"/>
                </a:lnTo>
                <a:lnTo>
                  <a:pt x="29003" y="445928"/>
                </a:lnTo>
                <a:lnTo>
                  <a:pt x="16681" y="491376"/>
                </a:lnTo>
                <a:lnTo>
                  <a:pt x="7728" y="538104"/>
                </a:lnTo>
                <a:lnTo>
                  <a:pt x="2285" y="585977"/>
                </a:lnTo>
                <a:lnTo>
                  <a:pt x="761" y="618743"/>
                </a:lnTo>
                <a:lnTo>
                  <a:pt x="761" y="629792"/>
                </a:lnTo>
                <a:lnTo>
                  <a:pt x="1523" y="627887"/>
                </a:lnTo>
                <a:lnTo>
                  <a:pt x="6095" y="623315"/>
                </a:lnTo>
                <a:lnTo>
                  <a:pt x="9905" y="621791"/>
                </a:lnTo>
                <a:lnTo>
                  <a:pt x="12953" y="621791"/>
                </a:lnTo>
                <a:lnTo>
                  <a:pt x="12953" y="647699"/>
                </a:lnTo>
                <a:lnTo>
                  <a:pt x="25907" y="634745"/>
                </a:lnTo>
                <a:lnTo>
                  <a:pt x="25907" y="618743"/>
                </a:lnTo>
                <a:lnTo>
                  <a:pt x="27431" y="587501"/>
                </a:lnTo>
                <a:lnTo>
                  <a:pt x="32785" y="540726"/>
                </a:lnTo>
                <a:lnTo>
                  <a:pt x="41647" y="495098"/>
                </a:lnTo>
                <a:lnTo>
                  <a:pt x="53872" y="450753"/>
                </a:lnTo>
                <a:lnTo>
                  <a:pt x="69313" y="407829"/>
                </a:lnTo>
                <a:lnTo>
                  <a:pt x="87825" y="366463"/>
                </a:lnTo>
                <a:lnTo>
                  <a:pt x="109262" y="326790"/>
                </a:lnTo>
                <a:lnTo>
                  <a:pt x="133477" y="288949"/>
                </a:lnTo>
                <a:lnTo>
                  <a:pt x="160326" y="253076"/>
                </a:lnTo>
                <a:lnTo>
                  <a:pt x="189661" y="219307"/>
                </a:lnTo>
                <a:lnTo>
                  <a:pt x="221337" y="187780"/>
                </a:lnTo>
                <a:lnTo>
                  <a:pt x="255208" y="158632"/>
                </a:lnTo>
                <a:lnTo>
                  <a:pt x="291128" y="131999"/>
                </a:lnTo>
                <a:lnTo>
                  <a:pt x="328951" y="108018"/>
                </a:lnTo>
                <a:lnTo>
                  <a:pt x="368532" y="86826"/>
                </a:lnTo>
                <a:lnTo>
                  <a:pt x="409724" y="68560"/>
                </a:lnTo>
                <a:lnTo>
                  <a:pt x="452381" y="53357"/>
                </a:lnTo>
                <a:lnTo>
                  <a:pt x="496358" y="41353"/>
                </a:lnTo>
                <a:lnTo>
                  <a:pt x="541508" y="32686"/>
                </a:lnTo>
                <a:lnTo>
                  <a:pt x="587686" y="27491"/>
                </a:lnTo>
                <a:lnTo>
                  <a:pt x="634745" y="25907"/>
                </a:lnTo>
                <a:lnTo>
                  <a:pt x="651509" y="25946"/>
                </a:lnTo>
                <a:lnTo>
                  <a:pt x="714528" y="30999"/>
                </a:lnTo>
                <a:lnTo>
                  <a:pt x="761920" y="39088"/>
                </a:lnTo>
                <a:lnTo>
                  <a:pt x="808010" y="50785"/>
                </a:lnTo>
                <a:lnTo>
                  <a:pt x="852645" y="65935"/>
                </a:lnTo>
                <a:lnTo>
                  <a:pt x="895670" y="84386"/>
                </a:lnTo>
                <a:lnTo>
                  <a:pt x="936932" y="105984"/>
                </a:lnTo>
                <a:lnTo>
                  <a:pt x="976407" y="130673"/>
                </a:lnTo>
                <a:lnTo>
                  <a:pt x="1013549" y="158011"/>
                </a:lnTo>
                <a:lnTo>
                  <a:pt x="1048596" y="188132"/>
                </a:lnTo>
                <a:lnTo>
                  <a:pt x="1081265" y="220789"/>
                </a:lnTo>
                <a:lnTo>
                  <a:pt x="1111400" y="255828"/>
                </a:lnTo>
                <a:lnTo>
                  <a:pt x="1138882" y="293149"/>
                </a:lnTo>
                <a:lnTo>
                  <a:pt x="1163455" y="332438"/>
                </a:lnTo>
                <a:lnTo>
                  <a:pt x="1185068" y="373703"/>
                </a:lnTo>
                <a:lnTo>
                  <a:pt x="1203532" y="416737"/>
                </a:lnTo>
                <a:lnTo>
                  <a:pt x="1218693" y="461388"/>
                </a:lnTo>
                <a:lnTo>
                  <a:pt x="1230398" y="507501"/>
                </a:lnTo>
                <a:lnTo>
                  <a:pt x="1238492" y="554924"/>
                </a:lnTo>
                <a:lnTo>
                  <a:pt x="1242821" y="603503"/>
                </a:lnTo>
                <a:lnTo>
                  <a:pt x="1243583" y="618743"/>
                </a:lnTo>
                <a:lnTo>
                  <a:pt x="1243583" y="812676"/>
                </a:lnTo>
                <a:lnTo>
                  <a:pt x="1245068" y="808094"/>
                </a:lnTo>
                <a:lnTo>
                  <a:pt x="1256171" y="762372"/>
                </a:lnTo>
                <a:lnTo>
                  <a:pt x="1263850" y="715464"/>
                </a:lnTo>
                <a:lnTo>
                  <a:pt x="1267967" y="667511"/>
                </a:lnTo>
                <a:lnTo>
                  <a:pt x="1268729" y="650747"/>
                </a:lnTo>
                <a:close/>
              </a:path>
              <a:path w="1268729" h="1268729">
                <a:moveTo>
                  <a:pt x="1243583" y="812676"/>
                </a:moveTo>
                <a:lnTo>
                  <a:pt x="1243583" y="650747"/>
                </a:lnTo>
                <a:lnTo>
                  <a:pt x="1242821" y="665987"/>
                </a:lnTo>
                <a:lnTo>
                  <a:pt x="1238666" y="713069"/>
                </a:lnTo>
                <a:lnTo>
                  <a:pt x="1230991" y="759046"/>
                </a:lnTo>
                <a:lnTo>
                  <a:pt x="1219935" y="803782"/>
                </a:lnTo>
                <a:lnTo>
                  <a:pt x="1205638" y="847144"/>
                </a:lnTo>
                <a:lnTo>
                  <a:pt x="1188240" y="888995"/>
                </a:lnTo>
                <a:lnTo>
                  <a:pt x="1167880" y="929200"/>
                </a:lnTo>
                <a:lnTo>
                  <a:pt x="1144698" y="967625"/>
                </a:lnTo>
                <a:lnTo>
                  <a:pt x="1118833" y="1004133"/>
                </a:lnTo>
                <a:lnTo>
                  <a:pt x="1090425" y="1038591"/>
                </a:lnTo>
                <a:lnTo>
                  <a:pt x="1059613" y="1070862"/>
                </a:lnTo>
                <a:lnTo>
                  <a:pt x="1026537" y="1100812"/>
                </a:lnTo>
                <a:lnTo>
                  <a:pt x="991336" y="1128304"/>
                </a:lnTo>
                <a:lnTo>
                  <a:pt x="954150" y="1153206"/>
                </a:lnTo>
                <a:lnTo>
                  <a:pt x="915118" y="1175379"/>
                </a:lnTo>
                <a:lnTo>
                  <a:pt x="874381" y="1194691"/>
                </a:lnTo>
                <a:lnTo>
                  <a:pt x="832077" y="1211005"/>
                </a:lnTo>
                <a:lnTo>
                  <a:pt x="788346" y="1224187"/>
                </a:lnTo>
                <a:lnTo>
                  <a:pt x="743327" y="1234100"/>
                </a:lnTo>
                <a:lnTo>
                  <a:pt x="697160" y="1240611"/>
                </a:lnTo>
                <a:lnTo>
                  <a:pt x="651509" y="1243487"/>
                </a:lnTo>
                <a:lnTo>
                  <a:pt x="617981" y="1243534"/>
                </a:lnTo>
                <a:lnTo>
                  <a:pt x="570094" y="1240428"/>
                </a:lnTo>
                <a:lnTo>
                  <a:pt x="522503" y="1233492"/>
                </a:lnTo>
                <a:lnTo>
                  <a:pt x="476129" y="1222923"/>
                </a:lnTo>
                <a:lnTo>
                  <a:pt x="431127" y="1208871"/>
                </a:lnTo>
                <a:lnTo>
                  <a:pt x="387655" y="1191483"/>
                </a:lnTo>
                <a:lnTo>
                  <a:pt x="345868" y="1170910"/>
                </a:lnTo>
                <a:lnTo>
                  <a:pt x="305925" y="1147300"/>
                </a:lnTo>
                <a:lnTo>
                  <a:pt x="267982" y="1120801"/>
                </a:lnTo>
                <a:lnTo>
                  <a:pt x="232195" y="1091563"/>
                </a:lnTo>
                <a:lnTo>
                  <a:pt x="198722" y="1059733"/>
                </a:lnTo>
                <a:lnTo>
                  <a:pt x="167719" y="1025462"/>
                </a:lnTo>
                <a:lnTo>
                  <a:pt x="139343" y="988897"/>
                </a:lnTo>
                <a:lnTo>
                  <a:pt x="113750" y="950188"/>
                </a:lnTo>
                <a:lnTo>
                  <a:pt x="91098" y="909483"/>
                </a:lnTo>
                <a:lnTo>
                  <a:pt x="71543" y="866930"/>
                </a:lnTo>
                <a:lnTo>
                  <a:pt x="55242" y="822680"/>
                </a:lnTo>
                <a:lnTo>
                  <a:pt x="42352" y="776880"/>
                </a:lnTo>
                <a:lnTo>
                  <a:pt x="33030" y="729680"/>
                </a:lnTo>
                <a:lnTo>
                  <a:pt x="27431" y="681227"/>
                </a:lnTo>
                <a:lnTo>
                  <a:pt x="25907" y="641603"/>
                </a:lnTo>
                <a:lnTo>
                  <a:pt x="19811" y="647699"/>
                </a:lnTo>
                <a:lnTo>
                  <a:pt x="12953" y="647699"/>
                </a:lnTo>
                <a:lnTo>
                  <a:pt x="12953" y="621791"/>
                </a:lnTo>
                <a:lnTo>
                  <a:pt x="761" y="634745"/>
                </a:lnTo>
                <a:lnTo>
                  <a:pt x="761" y="651509"/>
                </a:lnTo>
                <a:lnTo>
                  <a:pt x="2285" y="683513"/>
                </a:lnTo>
                <a:lnTo>
                  <a:pt x="7795" y="732297"/>
                </a:lnTo>
                <a:lnTo>
                  <a:pt x="16968" y="779876"/>
                </a:lnTo>
                <a:lnTo>
                  <a:pt x="29652" y="826110"/>
                </a:lnTo>
                <a:lnTo>
                  <a:pt x="45694" y="870857"/>
                </a:lnTo>
                <a:lnTo>
                  <a:pt x="64942" y="913974"/>
                </a:lnTo>
                <a:lnTo>
                  <a:pt x="87244" y="955321"/>
                </a:lnTo>
                <a:lnTo>
                  <a:pt x="112447" y="994754"/>
                </a:lnTo>
                <a:lnTo>
                  <a:pt x="140399" y="1032132"/>
                </a:lnTo>
                <a:lnTo>
                  <a:pt x="170947" y="1067313"/>
                </a:lnTo>
                <a:lnTo>
                  <a:pt x="203939" y="1100156"/>
                </a:lnTo>
                <a:lnTo>
                  <a:pt x="239223" y="1130518"/>
                </a:lnTo>
                <a:lnTo>
                  <a:pt x="276646" y="1158257"/>
                </a:lnTo>
                <a:lnTo>
                  <a:pt x="316055" y="1183232"/>
                </a:lnTo>
                <a:lnTo>
                  <a:pt x="357299" y="1205300"/>
                </a:lnTo>
                <a:lnTo>
                  <a:pt x="400225" y="1224320"/>
                </a:lnTo>
                <a:lnTo>
                  <a:pt x="444680" y="1240150"/>
                </a:lnTo>
                <a:lnTo>
                  <a:pt x="490512" y="1252648"/>
                </a:lnTo>
                <a:lnTo>
                  <a:pt x="537568" y="1261672"/>
                </a:lnTo>
                <a:lnTo>
                  <a:pt x="585697" y="1267080"/>
                </a:lnTo>
                <a:lnTo>
                  <a:pt x="634745" y="1268729"/>
                </a:lnTo>
                <a:lnTo>
                  <a:pt x="651509" y="1268729"/>
                </a:lnTo>
                <a:lnTo>
                  <a:pt x="715504" y="1263874"/>
                </a:lnTo>
                <a:lnTo>
                  <a:pt x="762441" y="1256209"/>
                </a:lnTo>
                <a:lnTo>
                  <a:pt x="808182" y="1245113"/>
                </a:lnTo>
                <a:lnTo>
                  <a:pt x="852645" y="1230703"/>
                </a:lnTo>
                <a:lnTo>
                  <a:pt x="895670" y="1213114"/>
                </a:lnTo>
                <a:lnTo>
                  <a:pt x="936932" y="1192587"/>
                </a:lnTo>
                <a:lnTo>
                  <a:pt x="976407" y="1169224"/>
                </a:lnTo>
                <a:lnTo>
                  <a:pt x="1014083" y="1143078"/>
                </a:lnTo>
                <a:lnTo>
                  <a:pt x="1049727" y="1114343"/>
                </a:lnTo>
                <a:lnTo>
                  <a:pt x="1083202" y="1083159"/>
                </a:lnTo>
                <a:lnTo>
                  <a:pt x="1114367" y="1049666"/>
                </a:lnTo>
                <a:lnTo>
                  <a:pt x="1143084" y="1014006"/>
                </a:lnTo>
                <a:lnTo>
                  <a:pt x="1169213" y="976317"/>
                </a:lnTo>
                <a:lnTo>
                  <a:pt x="1192615" y="936742"/>
                </a:lnTo>
                <a:lnTo>
                  <a:pt x="1213151" y="895419"/>
                </a:lnTo>
                <a:lnTo>
                  <a:pt x="1230682" y="852490"/>
                </a:lnTo>
                <a:lnTo>
                  <a:pt x="1243583" y="812676"/>
                </a:lnTo>
                <a:close/>
              </a:path>
              <a:path w="1268729" h="1268729">
                <a:moveTo>
                  <a:pt x="25907" y="641603"/>
                </a:moveTo>
                <a:lnTo>
                  <a:pt x="25907" y="634745"/>
                </a:lnTo>
                <a:lnTo>
                  <a:pt x="12953" y="647699"/>
                </a:lnTo>
                <a:lnTo>
                  <a:pt x="19811" y="647699"/>
                </a:lnTo>
                <a:lnTo>
                  <a:pt x="25907" y="641603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0" name="object 13">
            <a:extLst>
              <a:ext uri="{FF2B5EF4-FFF2-40B4-BE49-F238E27FC236}">
                <a16:creationId xmlns:a16="http://schemas.microsoft.com/office/drawing/2014/main" id="{AA4F8C70-239E-4B47-AF3E-096D7A4F472F}"/>
              </a:ext>
            </a:extLst>
          </p:cNvPr>
          <p:cNvSpPr/>
          <p:nvPr/>
        </p:nvSpPr>
        <p:spPr>
          <a:xfrm>
            <a:off x="4112627" y="3404785"/>
            <a:ext cx="1243965" cy="1243965"/>
          </a:xfrm>
          <a:custGeom>
            <a:avLst/>
            <a:gdLst/>
            <a:ahLst/>
            <a:cxnLst/>
            <a:rect l="l" t="t" r="r" b="b"/>
            <a:pathLst>
              <a:path w="1243964" h="1243964">
                <a:moveTo>
                  <a:pt x="1243584" y="621791"/>
                </a:moveTo>
                <a:lnTo>
                  <a:pt x="1241714" y="573166"/>
                </a:lnTo>
                <a:lnTo>
                  <a:pt x="1236199" y="525569"/>
                </a:lnTo>
                <a:lnTo>
                  <a:pt x="1227175" y="479140"/>
                </a:lnTo>
                <a:lnTo>
                  <a:pt x="1214780" y="434015"/>
                </a:lnTo>
                <a:lnTo>
                  <a:pt x="1199152" y="390333"/>
                </a:lnTo>
                <a:lnTo>
                  <a:pt x="1180429" y="348231"/>
                </a:lnTo>
                <a:lnTo>
                  <a:pt x="1158747" y="307847"/>
                </a:lnTo>
                <a:lnTo>
                  <a:pt x="1134246" y="269319"/>
                </a:lnTo>
                <a:lnTo>
                  <a:pt x="1107063" y="232785"/>
                </a:lnTo>
                <a:lnTo>
                  <a:pt x="1077336" y="198382"/>
                </a:lnTo>
                <a:lnTo>
                  <a:pt x="1045201" y="166247"/>
                </a:lnTo>
                <a:lnTo>
                  <a:pt x="1010798" y="136520"/>
                </a:lnTo>
                <a:lnTo>
                  <a:pt x="974264" y="109337"/>
                </a:lnTo>
                <a:lnTo>
                  <a:pt x="935735" y="84835"/>
                </a:lnTo>
                <a:lnTo>
                  <a:pt x="895352" y="63154"/>
                </a:lnTo>
                <a:lnTo>
                  <a:pt x="853250" y="44431"/>
                </a:lnTo>
                <a:lnTo>
                  <a:pt x="809568" y="28803"/>
                </a:lnTo>
                <a:lnTo>
                  <a:pt x="764443" y="16408"/>
                </a:lnTo>
                <a:lnTo>
                  <a:pt x="718014" y="7384"/>
                </a:lnTo>
                <a:lnTo>
                  <a:pt x="670417" y="1869"/>
                </a:lnTo>
                <a:lnTo>
                  <a:pt x="621792" y="0"/>
                </a:lnTo>
                <a:lnTo>
                  <a:pt x="573264" y="1869"/>
                </a:lnTo>
                <a:lnTo>
                  <a:pt x="525747" y="7384"/>
                </a:lnTo>
                <a:lnTo>
                  <a:pt x="479380" y="16408"/>
                </a:lnTo>
                <a:lnTo>
                  <a:pt x="434300" y="28803"/>
                </a:lnTo>
                <a:lnTo>
                  <a:pt x="390649" y="44431"/>
                </a:lnTo>
                <a:lnTo>
                  <a:pt x="348565" y="63154"/>
                </a:lnTo>
                <a:lnTo>
                  <a:pt x="308186" y="84835"/>
                </a:lnTo>
                <a:lnTo>
                  <a:pt x="269653" y="109337"/>
                </a:lnTo>
                <a:lnTo>
                  <a:pt x="233105" y="136520"/>
                </a:lnTo>
                <a:lnTo>
                  <a:pt x="198680" y="166247"/>
                </a:lnTo>
                <a:lnTo>
                  <a:pt x="166519" y="198382"/>
                </a:lnTo>
                <a:lnTo>
                  <a:pt x="136760" y="232785"/>
                </a:lnTo>
                <a:lnTo>
                  <a:pt x="109542" y="269319"/>
                </a:lnTo>
                <a:lnTo>
                  <a:pt x="85005" y="307847"/>
                </a:lnTo>
                <a:lnTo>
                  <a:pt x="63288" y="348231"/>
                </a:lnTo>
                <a:lnTo>
                  <a:pt x="44530" y="390333"/>
                </a:lnTo>
                <a:lnTo>
                  <a:pt x="28870" y="434015"/>
                </a:lnTo>
                <a:lnTo>
                  <a:pt x="16448" y="479140"/>
                </a:lnTo>
                <a:lnTo>
                  <a:pt x="7403" y="525569"/>
                </a:lnTo>
                <a:lnTo>
                  <a:pt x="1874" y="573166"/>
                </a:lnTo>
                <a:lnTo>
                  <a:pt x="0" y="621791"/>
                </a:lnTo>
                <a:lnTo>
                  <a:pt x="1874" y="670319"/>
                </a:lnTo>
                <a:lnTo>
                  <a:pt x="7403" y="717836"/>
                </a:lnTo>
                <a:lnTo>
                  <a:pt x="16448" y="764203"/>
                </a:lnTo>
                <a:lnTo>
                  <a:pt x="28870" y="809283"/>
                </a:lnTo>
                <a:lnTo>
                  <a:pt x="44530" y="852934"/>
                </a:lnTo>
                <a:lnTo>
                  <a:pt x="63288" y="895018"/>
                </a:lnTo>
                <a:lnTo>
                  <a:pt x="85005" y="935397"/>
                </a:lnTo>
                <a:lnTo>
                  <a:pt x="109542" y="973930"/>
                </a:lnTo>
                <a:lnTo>
                  <a:pt x="136760" y="1010478"/>
                </a:lnTo>
                <a:lnTo>
                  <a:pt x="166519" y="1044903"/>
                </a:lnTo>
                <a:lnTo>
                  <a:pt x="198680" y="1077064"/>
                </a:lnTo>
                <a:lnTo>
                  <a:pt x="233105" y="1106823"/>
                </a:lnTo>
                <a:lnTo>
                  <a:pt x="269653" y="1134041"/>
                </a:lnTo>
                <a:lnTo>
                  <a:pt x="308186" y="1158578"/>
                </a:lnTo>
                <a:lnTo>
                  <a:pt x="348565" y="1180295"/>
                </a:lnTo>
                <a:lnTo>
                  <a:pt x="390649" y="1199053"/>
                </a:lnTo>
                <a:lnTo>
                  <a:pt x="434300" y="1214713"/>
                </a:lnTo>
                <a:lnTo>
                  <a:pt x="479380" y="1227135"/>
                </a:lnTo>
                <a:lnTo>
                  <a:pt x="525747" y="1236180"/>
                </a:lnTo>
                <a:lnTo>
                  <a:pt x="573264" y="1241709"/>
                </a:lnTo>
                <a:lnTo>
                  <a:pt x="621792" y="1243583"/>
                </a:lnTo>
                <a:lnTo>
                  <a:pt x="670417" y="1241709"/>
                </a:lnTo>
                <a:lnTo>
                  <a:pt x="718014" y="1236180"/>
                </a:lnTo>
                <a:lnTo>
                  <a:pt x="764443" y="1227135"/>
                </a:lnTo>
                <a:lnTo>
                  <a:pt x="809568" y="1214713"/>
                </a:lnTo>
                <a:lnTo>
                  <a:pt x="853250" y="1199053"/>
                </a:lnTo>
                <a:lnTo>
                  <a:pt x="895352" y="1180295"/>
                </a:lnTo>
                <a:lnTo>
                  <a:pt x="935735" y="1158578"/>
                </a:lnTo>
                <a:lnTo>
                  <a:pt x="974264" y="1134041"/>
                </a:lnTo>
                <a:lnTo>
                  <a:pt x="1010798" y="1106823"/>
                </a:lnTo>
                <a:lnTo>
                  <a:pt x="1045201" y="1077064"/>
                </a:lnTo>
                <a:lnTo>
                  <a:pt x="1077336" y="1044903"/>
                </a:lnTo>
                <a:lnTo>
                  <a:pt x="1107063" y="1010478"/>
                </a:lnTo>
                <a:lnTo>
                  <a:pt x="1134246" y="973930"/>
                </a:lnTo>
                <a:lnTo>
                  <a:pt x="1158747" y="935397"/>
                </a:lnTo>
                <a:lnTo>
                  <a:pt x="1180429" y="895018"/>
                </a:lnTo>
                <a:lnTo>
                  <a:pt x="1199152" y="852934"/>
                </a:lnTo>
                <a:lnTo>
                  <a:pt x="1214780" y="809283"/>
                </a:lnTo>
                <a:lnTo>
                  <a:pt x="1227175" y="764203"/>
                </a:lnTo>
                <a:lnTo>
                  <a:pt x="1236199" y="717836"/>
                </a:lnTo>
                <a:lnTo>
                  <a:pt x="1241714" y="670319"/>
                </a:lnTo>
                <a:lnTo>
                  <a:pt x="1243584" y="62179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14">
            <a:extLst>
              <a:ext uri="{FF2B5EF4-FFF2-40B4-BE49-F238E27FC236}">
                <a16:creationId xmlns:a16="http://schemas.microsoft.com/office/drawing/2014/main" id="{1B111FD1-A4B3-4923-B03A-63A6A686DE34}"/>
              </a:ext>
            </a:extLst>
          </p:cNvPr>
          <p:cNvSpPr/>
          <p:nvPr/>
        </p:nvSpPr>
        <p:spPr>
          <a:xfrm>
            <a:off x="4100435" y="3391830"/>
            <a:ext cx="1268095" cy="1268730"/>
          </a:xfrm>
          <a:custGeom>
            <a:avLst/>
            <a:gdLst/>
            <a:ahLst/>
            <a:cxnLst/>
            <a:rect l="l" t="t" r="r" b="b"/>
            <a:pathLst>
              <a:path w="1268095" h="1268729">
                <a:moveTo>
                  <a:pt x="1267968" y="650748"/>
                </a:moveTo>
                <a:lnTo>
                  <a:pt x="1267968" y="617982"/>
                </a:lnTo>
                <a:lnTo>
                  <a:pt x="1266444" y="585978"/>
                </a:lnTo>
                <a:lnTo>
                  <a:pt x="1260998" y="538014"/>
                </a:lnTo>
                <a:lnTo>
                  <a:pt x="1252046" y="491222"/>
                </a:lnTo>
                <a:lnTo>
                  <a:pt x="1239727" y="445735"/>
                </a:lnTo>
                <a:lnTo>
                  <a:pt x="1224182" y="401684"/>
                </a:lnTo>
                <a:lnTo>
                  <a:pt x="1205551" y="359205"/>
                </a:lnTo>
                <a:lnTo>
                  <a:pt x="1183972" y="318428"/>
                </a:lnTo>
                <a:lnTo>
                  <a:pt x="1159587" y="279487"/>
                </a:lnTo>
                <a:lnTo>
                  <a:pt x="1132534" y="242514"/>
                </a:lnTo>
                <a:lnTo>
                  <a:pt x="1102954" y="207643"/>
                </a:lnTo>
                <a:lnTo>
                  <a:pt x="1070986" y="175007"/>
                </a:lnTo>
                <a:lnTo>
                  <a:pt x="1036770" y="144738"/>
                </a:lnTo>
                <a:lnTo>
                  <a:pt x="1000446" y="116969"/>
                </a:lnTo>
                <a:lnTo>
                  <a:pt x="962155" y="91833"/>
                </a:lnTo>
                <a:lnTo>
                  <a:pt x="922034" y="69463"/>
                </a:lnTo>
                <a:lnTo>
                  <a:pt x="880226" y="49991"/>
                </a:lnTo>
                <a:lnTo>
                  <a:pt x="836868" y="33551"/>
                </a:lnTo>
                <a:lnTo>
                  <a:pt x="792102" y="20275"/>
                </a:lnTo>
                <a:lnTo>
                  <a:pt x="746066" y="10296"/>
                </a:lnTo>
                <a:lnTo>
                  <a:pt x="698902" y="3747"/>
                </a:lnTo>
                <a:lnTo>
                  <a:pt x="650748" y="762"/>
                </a:lnTo>
                <a:lnTo>
                  <a:pt x="633984" y="0"/>
                </a:lnTo>
                <a:lnTo>
                  <a:pt x="617220" y="762"/>
                </a:lnTo>
                <a:lnTo>
                  <a:pt x="569104" y="3694"/>
                </a:lnTo>
                <a:lnTo>
                  <a:pt x="521972" y="10207"/>
                </a:lnTo>
                <a:lnTo>
                  <a:pt x="475963" y="20165"/>
                </a:lnTo>
                <a:lnTo>
                  <a:pt x="431217" y="33435"/>
                </a:lnTo>
                <a:lnTo>
                  <a:pt x="387875" y="49880"/>
                </a:lnTo>
                <a:lnTo>
                  <a:pt x="346077" y="69367"/>
                </a:lnTo>
                <a:lnTo>
                  <a:pt x="305964" y="91759"/>
                </a:lnTo>
                <a:lnTo>
                  <a:pt x="267674" y="116923"/>
                </a:lnTo>
                <a:lnTo>
                  <a:pt x="231349" y="144724"/>
                </a:lnTo>
                <a:lnTo>
                  <a:pt x="197129" y="175026"/>
                </a:lnTo>
                <a:lnTo>
                  <a:pt x="165153" y="207695"/>
                </a:lnTo>
                <a:lnTo>
                  <a:pt x="135563" y="242597"/>
                </a:lnTo>
                <a:lnTo>
                  <a:pt x="108498" y="279595"/>
                </a:lnTo>
                <a:lnTo>
                  <a:pt x="84098" y="318556"/>
                </a:lnTo>
                <a:lnTo>
                  <a:pt x="62504" y="359344"/>
                </a:lnTo>
                <a:lnTo>
                  <a:pt x="43855" y="401825"/>
                </a:lnTo>
                <a:lnTo>
                  <a:pt x="28293" y="445863"/>
                </a:lnTo>
                <a:lnTo>
                  <a:pt x="15957" y="491325"/>
                </a:lnTo>
                <a:lnTo>
                  <a:pt x="6987" y="538075"/>
                </a:lnTo>
                <a:lnTo>
                  <a:pt x="1523" y="585978"/>
                </a:lnTo>
                <a:lnTo>
                  <a:pt x="0" y="618744"/>
                </a:lnTo>
                <a:lnTo>
                  <a:pt x="0" y="651510"/>
                </a:lnTo>
                <a:lnTo>
                  <a:pt x="3048" y="699516"/>
                </a:lnTo>
                <a:lnTo>
                  <a:pt x="9931" y="748355"/>
                </a:lnTo>
                <a:lnTo>
                  <a:pt x="20409" y="795844"/>
                </a:lnTo>
                <a:lnTo>
                  <a:pt x="25146" y="811499"/>
                </a:lnTo>
                <a:lnTo>
                  <a:pt x="25146" y="618744"/>
                </a:lnTo>
                <a:lnTo>
                  <a:pt x="26669" y="587502"/>
                </a:lnTo>
                <a:lnTo>
                  <a:pt x="32298" y="540493"/>
                </a:lnTo>
                <a:lnTo>
                  <a:pt x="41352" y="494701"/>
                </a:lnTo>
                <a:lnTo>
                  <a:pt x="53694" y="450255"/>
                </a:lnTo>
                <a:lnTo>
                  <a:pt x="69187" y="407284"/>
                </a:lnTo>
                <a:lnTo>
                  <a:pt x="87694" y="365918"/>
                </a:lnTo>
                <a:lnTo>
                  <a:pt x="109078" y="326285"/>
                </a:lnTo>
                <a:lnTo>
                  <a:pt x="133204" y="288516"/>
                </a:lnTo>
                <a:lnTo>
                  <a:pt x="159933" y="252739"/>
                </a:lnTo>
                <a:lnTo>
                  <a:pt x="189129" y="219084"/>
                </a:lnTo>
                <a:lnTo>
                  <a:pt x="220656" y="187680"/>
                </a:lnTo>
                <a:lnTo>
                  <a:pt x="254376" y="158657"/>
                </a:lnTo>
                <a:lnTo>
                  <a:pt x="290152" y="132143"/>
                </a:lnTo>
                <a:lnTo>
                  <a:pt x="327848" y="108269"/>
                </a:lnTo>
                <a:lnTo>
                  <a:pt x="367328" y="87163"/>
                </a:lnTo>
                <a:lnTo>
                  <a:pt x="408453" y="68955"/>
                </a:lnTo>
                <a:lnTo>
                  <a:pt x="451088" y="53774"/>
                </a:lnTo>
                <a:lnTo>
                  <a:pt x="495095" y="41749"/>
                </a:lnTo>
                <a:lnTo>
                  <a:pt x="540338" y="33010"/>
                </a:lnTo>
                <a:lnTo>
                  <a:pt x="586680" y="27687"/>
                </a:lnTo>
                <a:lnTo>
                  <a:pt x="633984" y="25908"/>
                </a:lnTo>
                <a:lnTo>
                  <a:pt x="650748" y="25944"/>
                </a:lnTo>
                <a:lnTo>
                  <a:pt x="714453" y="31049"/>
                </a:lnTo>
                <a:lnTo>
                  <a:pt x="761779" y="39184"/>
                </a:lnTo>
                <a:lnTo>
                  <a:pt x="807813" y="50921"/>
                </a:lnTo>
                <a:lnTo>
                  <a:pt x="852398" y="66108"/>
                </a:lnTo>
                <a:lnTo>
                  <a:pt x="895380" y="84589"/>
                </a:lnTo>
                <a:lnTo>
                  <a:pt x="936604" y="106214"/>
                </a:lnTo>
                <a:lnTo>
                  <a:pt x="975916" y="130827"/>
                </a:lnTo>
                <a:lnTo>
                  <a:pt x="1013159" y="158275"/>
                </a:lnTo>
                <a:lnTo>
                  <a:pt x="1048180" y="188406"/>
                </a:lnTo>
                <a:lnTo>
                  <a:pt x="1080824" y="221066"/>
                </a:lnTo>
                <a:lnTo>
                  <a:pt x="1110934" y="256102"/>
                </a:lnTo>
                <a:lnTo>
                  <a:pt x="1138357" y="293359"/>
                </a:lnTo>
                <a:lnTo>
                  <a:pt x="1162943" y="332694"/>
                </a:lnTo>
                <a:lnTo>
                  <a:pt x="1184522" y="373928"/>
                </a:lnTo>
                <a:lnTo>
                  <a:pt x="1202954" y="416932"/>
                </a:lnTo>
                <a:lnTo>
                  <a:pt x="1218078" y="461545"/>
                </a:lnTo>
                <a:lnTo>
                  <a:pt x="1229740" y="507613"/>
                </a:lnTo>
                <a:lnTo>
                  <a:pt x="1237786" y="554984"/>
                </a:lnTo>
                <a:lnTo>
                  <a:pt x="1242060" y="603504"/>
                </a:lnTo>
                <a:lnTo>
                  <a:pt x="1242822" y="618744"/>
                </a:lnTo>
                <a:lnTo>
                  <a:pt x="1242822" y="812188"/>
                </a:lnTo>
                <a:lnTo>
                  <a:pt x="1248777" y="792028"/>
                </a:lnTo>
                <a:lnTo>
                  <a:pt x="1258682" y="745991"/>
                </a:lnTo>
                <a:lnTo>
                  <a:pt x="1265124" y="698850"/>
                </a:lnTo>
                <a:lnTo>
                  <a:pt x="1267968" y="650748"/>
                </a:lnTo>
                <a:close/>
              </a:path>
              <a:path w="1268095" h="1268729">
                <a:moveTo>
                  <a:pt x="1242822" y="812188"/>
                </a:moveTo>
                <a:lnTo>
                  <a:pt x="1242822" y="650748"/>
                </a:lnTo>
                <a:lnTo>
                  <a:pt x="1242060" y="665988"/>
                </a:lnTo>
                <a:lnTo>
                  <a:pt x="1237861" y="714414"/>
                </a:lnTo>
                <a:lnTo>
                  <a:pt x="1229856" y="761730"/>
                </a:lnTo>
                <a:lnTo>
                  <a:pt x="1218203" y="807778"/>
                </a:lnTo>
                <a:lnTo>
                  <a:pt x="1203060" y="852399"/>
                </a:lnTo>
                <a:lnTo>
                  <a:pt x="1184522" y="895560"/>
                </a:lnTo>
                <a:lnTo>
                  <a:pt x="1162938" y="936735"/>
                </a:lnTo>
                <a:lnTo>
                  <a:pt x="1138285" y="976120"/>
                </a:lnTo>
                <a:lnTo>
                  <a:pt x="1110774" y="1013450"/>
                </a:lnTo>
                <a:lnTo>
                  <a:pt x="1080568" y="1048563"/>
                </a:lnTo>
                <a:lnTo>
                  <a:pt x="1047826" y="1081298"/>
                </a:lnTo>
                <a:lnTo>
                  <a:pt x="1012706" y="1111498"/>
                </a:lnTo>
                <a:lnTo>
                  <a:pt x="975368" y="1139004"/>
                </a:lnTo>
                <a:lnTo>
                  <a:pt x="935970" y="1163659"/>
                </a:lnTo>
                <a:lnTo>
                  <a:pt x="894671" y="1185302"/>
                </a:lnTo>
                <a:lnTo>
                  <a:pt x="851631" y="1203777"/>
                </a:lnTo>
                <a:lnTo>
                  <a:pt x="807007" y="1218925"/>
                </a:lnTo>
                <a:lnTo>
                  <a:pt x="760959" y="1230587"/>
                </a:lnTo>
                <a:lnTo>
                  <a:pt x="713646" y="1238606"/>
                </a:lnTo>
                <a:lnTo>
                  <a:pt x="665226" y="1242822"/>
                </a:lnTo>
                <a:lnTo>
                  <a:pt x="633984" y="1243584"/>
                </a:lnTo>
                <a:lnTo>
                  <a:pt x="585287" y="1241784"/>
                </a:lnTo>
                <a:lnTo>
                  <a:pt x="537538" y="1236153"/>
                </a:lnTo>
                <a:lnTo>
                  <a:pt x="490900" y="1226835"/>
                </a:lnTo>
                <a:lnTo>
                  <a:pt x="445536" y="1213978"/>
                </a:lnTo>
                <a:lnTo>
                  <a:pt x="401606" y="1197730"/>
                </a:lnTo>
                <a:lnTo>
                  <a:pt x="359274" y="1178237"/>
                </a:lnTo>
                <a:lnTo>
                  <a:pt x="318702" y="1155647"/>
                </a:lnTo>
                <a:lnTo>
                  <a:pt x="280053" y="1130105"/>
                </a:lnTo>
                <a:lnTo>
                  <a:pt x="243487" y="1101761"/>
                </a:lnTo>
                <a:lnTo>
                  <a:pt x="209169" y="1070759"/>
                </a:lnTo>
                <a:lnTo>
                  <a:pt x="177260" y="1037249"/>
                </a:lnTo>
                <a:lnTo>
                  <a:pt x="147922" y="1001376"/>
                </a:lnTo>
                <a:lnTo>
                  <a:pt x="121318" y="963287"/>
                </a:lnTo>
                <a:lnTo>
                  <a:pt x="97610" y="923130"/>
                </a:lnTo>
                <a:lnTo>
                  <a:pt x="76961" y="881052"/>
                </a:lnTo>
                <a:lnTo>
                  <a:pt x="59532" y="837200"/>
                </a:lnTo>
                <a:lnTo>
                  <a:pt x="45487" y="791720"/>
                </a:lnTo>
                <a:lnTo>
                  <a:pt x="34986" y="744760"/>
                </a:lnTo>
                <a:lnTo>
                  <a:pt x="28194" y="696468"/>
                </a:lnTo>
                <a:lnTo>
                  <a:pt x="25146" y="649986"/>
                </a:lnTo>
                <a:lnTo>
                  <a:pt x="25146" y="811499"/>
                </a:lnTo>
                <a:lnTo>
                  <a:pt x="51538" y="886238"/>
                </a:lnTo>
                <a:lnTo>
                  <a:pt x="71886" y="928880"/>
                </a:lnTo>
                <a:lnTo>
                  <a:pt x="95222" y="969641"/>
                </a:lnTo>
                <a:lnTo>
                  <a:pt x="121393" y="1008389"/>
                </a:lnTo>
                <a:lnTo>
                  <a:pt x="150249" y="1044992"/>
                </a:lnTo>
                <a:lnTo>
                  <a:pt x="181637" y="1079318"/>
                </a:lnTo>
                <a:lnTo>
                  <a:pt x="215407" y="1111234"/>
                </a:lnTo>
                <a:lnTo>
                  <a:pt x="251407" y="1140607"/>
                </a:lnTo>
                <a:lnTo>
                  <a:pt x="289485" y="1167306"/>
                </a:lnTo>
                <a:lnTo>
                  <a:pt x="329490" y="1191198"/>
                </a:lnTo>
                <a:lnTo>
                  <a:pt x="371270" y="1212151"/>
                </a:lnTo>
                <a:lnTo>
                  <a:pt x="414674" y="1230032"/>
                </a:lnTo>
                <a:lnTo>
                  <a:pt x="459550" y="1244709"/>
                </a:lnTo>
                <a:lnTo>
                  <a:pt x="505747" y="1256049"/>
                </a:lnTo>
                <a:lnTo>
                  <a:pt x="553113" y="1263921"/>
                </a:lnTo>
                <a:lnTo>
                  <a:pt x="601497" y="1268192"/>
                </a:lnTo>
                <a:lnTo>
                  <a:pt x="650748" y="1268730"/>
                </a:lnTo>
                <a:lnTo>
                  <a:pt x="682752" y="1267206"/>
                </a:lnTo>
                <a:lnTo>
                  <a:pt x="730656" y="1261809"/>
                </a:lnTo>
                <a:lnTo>
                  <a:pt x="777416" y="1252879"/>
                </a:lnTo>
                <a:lnTo>
                  <a:pt x="822895" y="1240558"/>
                </a:lnTo>
                <a:lnTo>
                  <a:pt x="866958" y="1224988"/>
                </a:lnTo>
                <a:lnTo>
                  <a:pt x="909467" y="1206313"/>
                </a:lnTo>
                <a:lnTo>
                  <a:pt x="950287" y="1184676"/>
                </a:lnTo>
                <a:lnTo>
                  <a:pt x="989281" y="1160219"/>
                </a:lnTo>
                <a:lnTo>
                  <a:pt x="1026312" y="1133086"/>
                </a:lnTo>
                <a:lnTo>
                  <a:pt x="1061244" y="1103419"/>
                </a:lnTo>
                <a:lnTo>
                  <a:pt x="1093941" y="1071362"/>
                </a:lnTo>
                <a:lnTo>
                  <a:pt x="1124266" y="1037057"/>
                </a:lnTo>
                <a:lnTo>
                  <a:pt x="1152084" y="1000647"/>
                </a:lnTo>
                <a:lnTo>
                  <a:pt x="1177257" y="962275"/>
                </a:lnTo>
                <a:lnTo>
                  <a:pt x="1199649" y="922084"/>
                </a:lnTo>
                <a:lnTo>
                  <a:pt x="1219124" y="880218"/>
                </a:lnTo>
                <a:lnTo>
                  <a:pt x="1235545" y="836818"/>
                </a:lnTo>
                <a:lnTo>
                  <a:pt x="1242822" y="812188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15">
            <a:extLst>
              <a:ext uri="{FF2B5EF4-FFF2-40B4-BE49-F238E27FC236}">
                <a16:creationId xmlns:a16="http://schemas.microsoft.com/office/drawing/2014/main" id="{EF8D7280-AC37-4EC2-BEA6-FADAF9ADE1C9}"/>
              </a:ext>
            </a:extLst>
          </p:cNvPr>
          <p:cNvSpPr/>
          <p:nvPr/>
        </p:nvSpPr>
        <p:spPr>
          <a:xfrm>
            <a:off x="5818745" y="5168815"/>
            <a:ext cx="1243330" cy="1243330"/>
          </a:xfrm>
          <a:custGeom>
            <a:avLst/>
            <a:gdLst/>
            <a:ahLst/>
            <a:cxnLst/>
            <a:rect l="l" t="t" r="r" b="b"/>
            <a:pathLst>
              <a:path w="1243329" h="1243329">
                <a:moveTo>
                  <a:pt x="1242822" y="621030"/>
                </a:moveTo>
                <a:lnTo>
                  <a:pt x="1240952" y="572507"/>
                </a:lnTo>
                <a:lnTo>
                  <a:pt x="1235437" y="525005"/>
                </a:lnTo>
                <a:lnTo>
                  <a:pt x="1226413" y="478660"/>
                </a:lnTo>
                <a:lnTo>
                  <a:pt x="1214018" y="433611"/>
                </a:lnTo>
                <a:lnTo>
                  <a:pt x="1198390" y="389996"/>
                </a:lnTo>
                <a:lnTo>
                  <a:pt x="1179667" y="347954"/>
                </a:lnTo>
                <a:lnTo>
                  <a:pt x="1157985" y="307622"/>
                </a:lnTo>
                <a:lnTo>
                  <a:pt x="1133484" y="269139"/>
                </a:lnTo>
                <a:lnTo>
                  <a:pt x="1106301" y="232643"/>
                </a:lnTo>
                <a:lnTo>
                  <a:pt x="1076574" y="198272"/>
                </a:lnTo>
                <a:lnTo>
                  <a:pt x="1044439" y="166165"/>
                </a:lnTo>
                <a:lnTo>
                  <a:pt x="1010036" y="136460"/>
                </a:lnTo>
                <a:lnTo>
                  <a:pt x="973502" y="109294"/>
                </a:lnTo>
                <a:lnTo>
                  <a:pt x="934973" y="84807"/>
                </a:lnTo>
                <a:lnTo>
                  <a:pt x="894590" y="63137"/>
                </a:lnTo>
                <a:lnTo>
                  <a:pt x="852488" y="44421"/>
                </a:lnTo>
                <a:lnTo>
                  <a:pt x="808806" y="28798"/>
                </a:lnTo>
                <a:lnTo>
                  <a:pt x="763681" y="16406"/>
                </a:lnTo>
                <a:lnTo>
                  <a:pt x="717252" y="7383"/>
                </a:lnTo>
                <a:lnTo>
                  <a:pt x="669655" y="1869"/>
                </a:lnTo>
                <a:lnTo>
                  <a:pt x="621030" y="0"/>
                </a:lnTo>
                <a:lnTo>
                  <a:pt x="572507" y="1869"/>
                </a:lnTo>
                <a:lnTo>
                  <a:pt x="525005" y="7383"/>
                </a:lnTo>
                <a:lnTo>
                  <a:pt x="478660" y="16406"/>
                </a:lnTo>
                <a:lnTo>
                  <a:pt x="433611" y="28798"/>
                </a:lnTo>
                <a:lnTo>
                  <a:pt x="389996" y="44421"/>
                </a:lnTo>
                <a:lnTo>
                  <a:pt x="347954" y="63137"/>
                </a:lnTo>
                <a:lnTo>
                  <a:pt x="307622" y="84807"/>
                </a:lnTo>
                <a:lnTo>
                  <a:pt x="269139" y="109294"/>
                </a:lnTo>
                <a:lnTo>
                  <a:pt x="232643" y="136460"/>
                </a:lnTo>
                <a:lnTo>
                  <a:pt x="198272" y="166165"/>
                </a:lnTo>
                <a:lnTo>
                  <a:pt x="166165" y="198272"/>
                </a:lnTo>
                <a:lnTo>
                  <a:pt x="136460" y="232643"/>
                </a:lnTo>
                <a:lnTo>
                  <a:pt x="109294" y="269139"/>
                </a:lnTo>
                <a:lnTo>
                  <a:pt x="84807" y="307622"/>
                </a:lnTo>
                <a:lnTo>
                  <a:pt x="63137" y="347954"/>
                </a:lnTo>
                <a:lnTo>
                  <a:pt x="44421" y="389996"/>
                </a:lnTo>
                <a:lnTo>
                  <a:pt x="28798" y="433611"/>
                </a:lnTo>
                <a:lnTo>
                  <a:pt x="16406" y="478660"/>
                </a:lnTo>
                <a:lnTo>
                  <a:pt x="7383" y="525005"/>
                </a:lnTo>
                <a:lnTo>
                  <a:pt x="1869" y="572507"/>
                </a:lnTo>
                <a:lnTo>
                  <a:pt x="0" y="621030"/>
                </a:lnTo>
                <a:lnTo>
                  <a:pt x="1869" y="669655"/>
                </a:lnTo>
                <a:lnTo>
                  <a:pt x="7383" y="717252"/>
                </a:lnTo>
                <a:lnTo>
                  <a:pt x="16406" y="763681"/>
                </a:lnTo>
                <a:lnTo>
                  <a:pt x="28798" y="808806"/>
                </a:lnTo>
                <a:lnTo>
                  <a:pt x="44421" y="852488"/>
                </a:lnTo>
                <a:lnTo>
                  <a:pt x="63137" y="894590"/>
                </a:lnTo>
                <a:lnTo>
                  <a:pt x="84807" y="934974"/>
                </a:lnTo>
                <a:lnTo>
                  <a:pt x="109294" y="973502"/>
                </a:lnTo>
                <a:lnTo>
                  <a:pt x="136460" y="1010036"/>
                </a:lnTo>
                <a:lnTo>
                  <a:pt x="166165" y="1044439"/>
                </a:lnTo>
                <a:lnTo>
                  <a:pt x="198272" y="1076574"/>
                </a:lnTo>
                <a:lnTo>
                  <a:pt x="232643" y="1106301"/>
                </a:lnTo>
                <a:lnTo>
                  <a:pt x="269139" y="1133484"/>
                </a:lnTo>
                <a:lnTo>
                  <a:pt x="307622" y="1157986"/>
                </a:lnTo>
                <a:lnTo>
                  <a:pt x="347954" y="1179667"/>
                </a:lnTo>
                <a:lnTo>
                  <a:pt x="389996" y="1198390"/>
                </a:lnTo>
                <a:lnTo>
                  <a:pt x="433611" y="1214018"/>
                </a:lnTo>
                <a:lnTo>
                  <a:pt x="478660" y="1226413"/>
                </a:lnTo>
                <a:lnTo>
                  <a:pt x="525005" y="1235437"/>
                </a:lnTo>
                <a:lnTo>
                  <a:pt x="572507" y="1240952"/>
                </a:lnTo>
                <a:lnTo>
                  <a:pt x="621030" y="1242822"/>
                </a:lnTo>
                <a:lnTo>
                  <a:pt x="669655" y="1240952"/>
                </a:lnTo>
                <a:lnTo>
                  <a:pt x="717252" y="1235437"/>
                </a:lnTo>
                <a:lnTo>
                  <a:pt x="763681" y="1226413"/>
                </a:lnTo>
                <a:lnTo>
                  <a:pt x="808806" y="1214018"/>
                </a:lnTo>
                <a:lnTo>
                  <a:pt x="852488" y="1198390"/>
                </a:lnTo>
                <a:lnTo>
                  <a:pt x="894590" y="1179667"/>
                </a:lnTo>
                <a:lnTo>
                  <a:pt x="934973" y="1157986"/>
                </a:lnTo>
                <a:lnTo>
                  <a:pt x="973502" y="1133484"/>
                </a:lnTo>
                <a:lnTo>
                  <a:pt x="1010036" y="1106301"/>
                </a:lnTo>
                <a:lnTo>
                  <a:pt x="1044439" y="1076574"/>
                </a:lnTo>
                <a:lnTo>
                  <a:pt x="1076574" y="1044439"/>
                </a:lnTo>
                <a:lnTo>
                  <a:pt x="1106301" y="1010036"/>
                </a:lnTo>
                <a:lnTo>
                  <a:pt x="1133484" y="973502"/>
                </a:lnTo>
                <a:lnTo>
                  <a:pt x="1157985" y="934974"/>
                </a:lnTo>
                <a:lnTo>
                  <a:pt x="1179667" y="894590"/>
                </a:lnTo>
                <a:lnTo>
                  <a:pt x="1198390" y="852488"/>
                </a:lnTo>
                <a:lnTo>
                  <a:pt x="1214018" y="808806"/>
                </a:lnTo>
                <a:lnTo>
                  <a:pt x="1226413" y="763681"/>
                </a:lnTo>
                <a:lnTo>
                  <a:pt x="1235437" y="717252"/>
                </a:lnTo>
                <a:lnTo>
                  <a:pt x="1240952" y="669655"/>
                </a:lnTo>
                <a:lnTo>
                  <a:pt x="1242822" y="621030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16">
            <a:extLst>
              <a:ext uri="{FF2B5EF4-FFF2-40B4-BE49-F238E27FC236}">
                <a16:creationId xmlns:a16="http://schemas.microsoft.com/office/drawing/2014/main" id="{F779325B-4CC9-4481-A282-470A924FA454}"/>
              </a:ext>
            </a:extLst>
          </p:cNvPr>
          <p:cNvSpPr/>
          <p:nvPr/>
        </p:nvSpPr>
        <p:spPr>
          <a:xfrm>
            <a:off x="5769711" y="5166666"/>
            <a:ext cx="1268730" cy="1268730"/>
          </a:xfrm>
          <a:custGeom>
            <a:avLst/>
            <a:gdLst/>
            <a:ahLst/>
            <a:cxnLst/>
            <a:rect l="l" t="t" r="r" b="b"/>
            <a:pathLst>
              <a:path w="1268729" h="1268729">
                <a:moveTo>
                  <a:pt x="1268730" y="650747"/>
                </a:moveTo>
                <a:lnTo>
                  <a:pt x="1268730" y="633983"/>
                </a:lnTo>
                <a:lnTo>
                  <a:pt x="1267968" y="617981"/>
                </a:lnTo>
                <a:lnTo>
                  <a:pt x="1267968" y="601217"/>
                </a:lnTo>
                <a:lnTo>
                  <a:pt x="1263364" y="552078"/>
                </a:lnTo>
                <a:lnTo>
                  <a:pt x="1255167" y="504135"/>
                </a:lnTo>
                <a:lnTo>
                  <a:pt x="1243515" y="457522"/>
                </a:lnTo>
                <a:lnTo>
                  <a:pt x="1228546" y="412376"/>
                </a:lnTo>
                <a:lnTo>
                  <a:pt x="1210398" y="368831"/>
                </a:lnTo>
                <a:lnTo>
                  <a:pt x="1189209" y="327024"/>
                </a:lnTo>
                <a:lnTo>
                  <a:pt x="1165118" y="287090"/>
                </a:lnTo>
                <a:lnTo>
                  <a:pt x="1138264" y="249164"/>
                </a:lnTo>
                <a:lnTo>
                  <a:pt x="1108783" y="213382"/>
                </a:lnTo>
                <a:lnTo>
                  <a:pt x="1076815" y="179879"/>
                </a:lnTo>
                <a:lnTo>
                  <a:pt x="1042498" y="148791"/>
                </a:lnTo>
                <a:lnTo>
                  <a:pt x="1005970" y="120252"/>
                </a:lnTo>
                <a:lnTo>
                  <a:pt x="967369" y="94399"/>
                </a:lnTo>
                <a:lnTo>
                  <a:pt x="926834" y="71367"/>
                </a:lnTo>
                <a:lnTo>
                  <a:pt x="884504" y="51292"/>
                </a:lnTo>
                <a:lnTo>
                  <a:pt x="840515" y="34308"/>
                </a:lnTo>
                <a:lnTo>
                  <a:pt x="795007" y="20551"/>
                </a:lnTo>
                <a:lnTo>
                  <a:pt x="748117" y="10157"/>
                </a:lnTo>
                <a:lnTo>
                  <a:pt x="699985" y="3262"/>
                </a:lnTo>
                <a:lnTo>
                  <a:pt x="650748" y="0"/>
                </a:lnTo>
                <a:lnTo>
                  <a:pt x="617982" y="0"/>
                </a:lnTo>
                <a:lnTo>
                  <a:pt x="569964" y="2971"/>
                </a:lnTo>
                <a:lnTo>
                  <a:pt x="522879" y="9529"/>
                </a:lnTo>
                <a:lnTo>
                  <a:pt x="476874" y="19536"/>
                </a:lnTo>
                <a:lnTo>
                  <a:pt x="432095" y="32858"/>
                </a:lnTo>
                <a:lnTo>
                  <a:pt x="388689" y="49359"/>
                </a:lnTo>
                <a:lnTo>
                  <a:pt x="346803" y="68902"/>
                </a:lnTo>
                <a:lnTo>
                  <a:pt x="306585" y="91352"/>
                </a:lnTo>
                <a:lnTo>
                  <a:pt x="268180" y="116574"/>
                </a:lnTo>
                <a:lnTo>
                  <a:pt x="231736" y="144431"/>
                </a:lnTo>
                <a:lnTo>
                  <a:pt x="197400" y="174788"/>
                </a:lnTo>
                <a:lnTo>
                  <a:pt x="165319" y="207509"/>
                </a:lnTo>
                <a:lnTo>
                  <a:pt x="135639" y="242458"/>
                </a:lnTo>
                <a:lnTo>
                  <a:pt x="108508" y="279500"/>
                </a:lnTo>
                <a:lnTo>
                  <a:pt x="84072" y="318498"/>
                </a:lnTo>
                <a:lnTo>
                  <a:pt x="62478" y="359318"/>
                </a:lnTo>
                <a:lnTo>
                  <a:pt x="43874" y="401822"/>
                </a:lnTo>
                <a:lnTo>
                  <a:pt x="28405" y="445876"/>
                </a:lnTo>
                <a:lnTo>
                  <a:pt x="16220" y="491344"/>
                </a:lnTo>
                <a:lnTo>
                  <a:pt x="7459" y="538138"/>
                </a:lnTo>
                <a:lnTo>
                  <a:pt x="2286" y="585977"/>
                </a:lnTo>
                <a:lnTo>
                  <a:pt x="0" y="617981"/>
                </a:lnTo>
                <a:lnTo>
                  <a:pt x="0" y="629411"/>
                </a:lnTo>
                <a:lnTo>
                  <a:pt x="3048" y="624839"/>
                </a:lnTo>
                <a:lnTo>
                  <a:pt x="12192" y="620267"/>
                </a:lnTo>
                <a:lnTo>
                  <a:pt x="18288" y="621791"/>
                </a:lnTo>
                <a:lnTo>
                  <a:pt x="22098" y="625601"/>
                </a:lnTo>
                <a:lnTo>
                  <a:pt x="22098" y="635290"/>
                </a:lnTo>
                <a:lnTo>
                  <a:pt x="25146" y="633983"/>
                </a:lnTo>
                <a:lnTo>
                  <a:pt x="25146" y="634745"/>
                </a:lnTo>
                <a:lnTo>
                  <a:pt x="25908" y="618743"/>
                </a:lnTo>
                <a:lnTo>
                  <a:pt x="25908" y="602741"/>
                </a:lnTo>
                <a:lnTo>
                  <a:pt x="27432" y="587501"/>
                </a:lnTo>
                <a:lnTo>
                  <a:pt x="32850" y="540375"/>
                </a:lnTo>
                <a:lnTo>
                  <a:pt x="41736" y="494493"/>
                </a:lnTo>
                <a:lnTo>
                  <a:pt x="53949" y="449982"/>
                </a:lnTo>
                <a:lnTo>
                  <a:pt x="69349" y="406967"/>
                </a:lnTo>
                <a:lnTo>
                  <a:pt x="87795" y="365576"/>
                </a:lnTo>
                <a:lnTo>
                  <a:pt x="109148" y="325933"/>
                </a:lnTo>
                <a:lnTo>
                  <a:pt x="133266" y="288165"/>
                </a:lnTo>
                <a:lnTo>
                  <a:pt x="160011" y="252398"/>
                </a:lnTo>
                <a:lnTo>
                  <a:pt x="189241" y="218758"/>
                </a:lnTo>
                <a:lnTo>
                  <a:pt x="220818" y="187371"/>
                </a:lnTo>
                <a:lnTo>
                  <a:pt x="254599" y="158363"/>
                </a:lnTo>
                <a:lnTo>
                  <a:pt x="290446" y="131860"/>
                </a:lnTo>
                <a:lnTo>
                  <a:pt x="328218" y="107988"/>
                </a:lnTo>
                <a:lnTo>
                  <a:pt x="367774" y="86873"/>
                </a:lnTo>
                <a:lnTo>
                  <a:pt x="408976" y="68642"/>
                </a:lnTo>
                <a:lnTo>
                  <a:pt x="451681" y="53420"/>
                </a:lnTo>
                <a:lnTo>
                  <a:pt x="495751" y="41333"/>
                </a:lnTo>
                <a:lnTo>
                  <a:pt x="541046" y="32508"/>
                </a:lnTo>
                <a:lnTo>
                  <a:pt x="587424" y="27070"/>
                </a:lnTo>
                <a:lnTo>
                  <a:pt x="634746" y="25145"/>
                </a:lnTo>
                <a:lnTo>
                  <a:pt x="649986" y="25907"/>
                </a:lnTo>
                <a:lnTo>
                  <a:pt x="666750" y="25980"/>
                </a:lnTo>
                <a:lnTo>
                  <a:pt x="714720" y="30537"/>
                </a:lnTo>
                <a:lnTo>
                  <a:pt x="762251" y="38858"/>
                </a:lnTo>
                <a:lnTo>
                  <a:pt x="808432" y="50724"/>
                </a:lnTo>
                <a:lnTo>
                  <a:pt x="853113" y="65989"/>
                </a:lnTo>
                <a:lnTo>
                  <a:pt x="896146" y="84507"/>
                </a:lnTo>
                <a:lnTo>
                  <a:pt x="937382" y="106132"/>
                </a:lnTo>
                <a:lnTo>
                  <a:pt x="976671" y="130718"/>
                </a:lnTo>
                <a:lnTo>
                  <a:pt x="1013864" y="158119"/>
                </a:lnTo>
                <a:lnTo>
                  <a:pt x="1048813" y="188188"/>
                </a:lnTo>
                <a:lnTo>
                  <a:pt x="1081368" y="220779"/>
                </a:lnTo>
                <a:lnTo>
                  <a:pt x="1111381" y="255747"/>
                </a:lnTo>
                <a:lnTo>
                  <a:pt x="1138702" y="292945"/>
                </a:lnTo>
                <a:lnTo>
                  <a:pt x="1163182" y="332227"/>
                </a:lnTo>
                <a:lnTo>
                  <a:pt x="1184672" y="373447"/>
                </a:lnTo>
                <a:lnTo>
                  <a:pt x="1203024" y="416459"/>
                </a:lnTo>
                <a:lnTo>
                  <a:pt x="1218087" y="461117"/>
                </a:lnTo>
                <a:lnTo>
                  <a:pt x="1229714" y="507274"/>
                </a:lnTo>
                <a:lnTo>
                  <a:pt x="1237754" y="554785"/>
                </a:lnTo>
                <a:lnTo>
                  <a:pt x="1242060" y="603503"/>
                </a:lnTo>
                <a:lnTo>
                  <a:pt x="1242822" y="618743"/>
                </a:lnTo>
                <a:lnTo>
                  <a:pt x="1242822" y="813371"/>
                </a:lnTo>
                <a:lnTo>
                  <a:pt x="1244593" y="807919"/>
                </a:lnTo>
                <a:lnTo>
                  <a:pt x="1255804" y="762070"/>
                </a:lnTo>
                <a:lnTo>
                  <a:pt x="1263639" y="714969"/>
                </a:lnTo>
                <a:lnTo>
                  <a:pt x="1267968" y="666749"/>
                </a:lnTo>
                <a:lnTo>
                  <a:pt x="1268730" y="650747"/>
                </a:lnTo>
                <a:close/>
              </a:path>
              <a:path w="1268729" h="1268729">
                <a:moveTo>
                  <a:pt x="22098" y="625601"/>
                </a:moveTo>
                <a:lnTo>
                  <a:pt x="18288" y="621791"/>
                </a:lnTo>
                <a:lnTo>
                  <a:pt x="12192" y="620267"/>
                </a:lnTo>
                <a:lnTo>
                  <a:pt x="3048" y="624839"/>
                </a:lnTo>
                <a:lnTo>
                  <a:pt x="0" y="629411"/>
                </a:lnTo>
                <a:lnTo>
                  <a:pt x="0" y="633983"/>
                </a:lnTo>
                <a:lnTo>
                  <a:pt x="22098" y="625601"/>
                </a:lnTo>
                <a:close/>
              </a:path>
              <a:path w="1268729" h="1268729">
                <a:moveTo>
                  <a:pt x="22098" y="635290"/>
                </a:moveTo>
                <a:lnTo>
                  <a:pt x="22098" y="625601"/>
                </a:lnTo>
                <a:lnTo>
                  <a:pt x="0" y="633983"/>
                </a:lnTo>
                <a:lnTo>
                  <a:pt x="0" y="650747"/>
                </a:lnTo>
                <a:lnTo>
                  <a:pt x="1524" y="683513"/>
                </a:lnTo>
                <a:lnTo>
                  <a:pt x="3810" y="702416"/>
                </a:lnTo>
                <a:lnTo>
                  <a:pt x="3810" y="643127"/>
                </a:lnTo>
                <a:lnTo>
                  <a:pt x="22098" y="635290"/>
                </a:lnTo>
                <a:close/>
              </a:path>
              <a:path w="1268729" h="1268729">
                <a:moveTo>
                  <a:pt x="25146" y="639317"/>
                </a:moveTo>
                <a:lnTo>
                  <a:pt x="25146" y="633983"/>
                </a:lnTo>
                <a:lnTo>
                  <a:pt x="3810" y="643127"/>
                </a:lnTo>
                <a:lnTo>
                  <a:pt x="7620" y="646937"/>
                </a:lnTo>
                <a:lnTo>
                  <a:pt x="12954" y="647699"/>
                </a:lnTo>
                <a:lnTo>
                  <a:pt x="17526" y="646175"/>
                </a:lnTo>
                <a:lnTo>
                  <a:pt x="22098" y="643889"/>
                </a:lnTo>
                <a:lnTo>
                  <a:pt x="25146" y="639317"/>
                </a:lnTo>
                <a:close/>
              </a:path>
              <a:path w="1268729" h="1268729">
                <a:moveTo>
                  <a:pt x="1242822" y="813371"/>
                </a:moveTo>
                <a:lnTo>
                  <a:pt x="1242822" y="649985"/>
                </a:lnTo>
                <a:lnTo>
                  <a:pt x="1242060" y="665987"/>
                </a:lnTo>
                <a:lnTo>
                  <a:pt x="1237977" y="713026"/>
                </a:lnTo>
                <a:lnTo>
                  <a:pt x="1230363" y="758961"/>
                </a:lnTo>
                <a:lnTo>
                  <a:pt x="1219356" y="803657"/>
                </a:lnTo>
                <a:lnTo>
                  <a:pt x="1205099" y="846979"/>
                </a:lnTo>
                <a:lnTo>
                  <a:pt x="1187733" y="888792"/>
                </a:lnTo>
                <a:lnTo>
                  <a:pt x="1167398" y="928959"/>
                </a:lnTo>
                <a:lnTo>
                  <a:pt x="1144236" y="967347"/>
                </a:lnTo>
                <a:lnTo>
                  <a:pt x="1118387" y="1003819"/>
                </a:lnTo>
                <a:lnTo>
                  <a:pt x="1089993" y="1038241"/>
                </a:lnTo>
                <a:lnTo>
                  <a:pt x="1059194" y="1070476"/>
                </a:lnTo>
                <a:lnTo>
                  <a:pt x="1026132" y="1100390"/>
                </a:lnTo>
                <a:lnTo>
                  <a:pt x="990947" y="1127847"/>
                </a:lnTo>
                <a:lnTo>
                  <a:pt x="953781" y="1152712"/>
                </a:lnTo>
                <a:lnTo>
                  <a:pt x="914775" y="1174850"/>
                </a:lnTo>
                <a:lnTo>
                  <a:pt x="874069" y="1194125"/>
                </a:lnTo>
                <a:lnTo>
                  <a:pt x="831805" y="1210402"/>
                </a:lnTo>
                <a:lnTo>
                  <a:pt x="788123" y="1223545"/>
                </a:lnTo>
                <a:lnTo>
                  <a:pt x="743166" y="1233420"/>
                </a:lnTo>
                <a:lnTo>
                  <a:pt x="697073" y="1239890"/>
                </a:lnTo>
                <a:lnTo>
                  <a:pt x="650748" y="1242774"/>
                </a:lnTo>
                <a:lnTo>
                  <a:pt x="617982" y="1242775"/>
                </a:lnTo>
                <a:lnTo>
                  <a:pt x="570201" y="1239852"/>
                </a:lnTo>
                <a:lnTo>
                  <a:pt x="522680" y="1233056"/>
                </a:lnTo>
                <a:lnTo>
                  <a:pt x="476340" y="1222588"/>
                </a:lnTo>
                <a:lnTo>
                  <a:pt x="431344" y="1208601"/>
                </a:lnTo>
                <a:lnTo>
                  <a:pt x="387853" y="1191249"/>
                </a:lnTo>
                <a:lnTo>
                  <a:pt x="346029" y="1170686"/>
                </a:lnTo>
                <a:lnTo>
                  <a:pt x="306032" y="1147066"/>
                </a:lnTo>
                <a:lnTo>
                  <a:pt x="268025" y="1120543"/>
                </a:lnTo>
                <a:lnTo>
                  <a:pt x="232169" y="1091272"/>
                </a:lnTo>
                <a:lnTo>
                  <a:pt x="198625" y="1059405"/>
                </a:lnTo>
                <a:lnTo>
                  <a:pt x="167555" y="1025097"/>
                </a:lnTo>
                <a:lnTo>
                  <a:pt x="139120" y="988502"/>
                </a:lnTo>
                <a:lnTo>
                  <a:pt x="113483" y="949774"/>
                </a:lnTo>
                <a:lnTo>
                  <a:pt x="90803" y="909066"/>
                </a:lnTo>
                <a:lnTo>
                  <a:pt x="71243" y="866533"/>
                </a:lnTo>
                <a:lnTo>
                  <a:pt x="54965" y="822329"/>
                </a:lnTo>
                <a:lnTo>
                  <a:pt x="42129" y="776607"/>
                </a:lnTo>
                <a:lnTo>
                  <a:pt x="32897" y="729522"/>
                </a:lnTo>
                <a:lnTo>
                  <a:pt x="27432" y="681227"/>
                </a:lnTo>
                <a:lnTo>
                  <a:pt x="25146" y="639317"/>
                </a:lnTo>
                <a:lnTo>
                  <a:pt x="22098" y="643889"/>
                </a:lnTo>
                <a:lnTo>
                  <a:pt x="17526" y="646175"/>
                </a:lnTo>
                <a:lnTo>
                  <a:pt x="12954" y="647699"/>
                </a:lnTo>
                <a:lnTo>
                  <a:pt x="7620" y="646937"/>
                </a:lnTo>
                <a:lnTo>
                  <a:pt x="3810" y="643127"/>
                </a:lnTo>
                <a:lnTo>
                  <a:pt x="3810" y="702416"/>
                </a:lnTo>
                <a:lnTo>
                  <a:pt x="16946" y="780371"/>
                </a:lnTo>
                <a:lnTo>
                  <a:pt x="29844" y="826720"/>
                </a:lnTo>
                <a:lnTo>
                  <a:pt x="46012" y="871508"/>
                </a:lnTo>
                <a:lnTo>
                  <a:pt x="65310" y="914603"/>
                </a:lnTo>
                <a:lnTo>
                  <a:pt x="87597" y="955874"/>
                </a:lnTo>
                <a:lnTo>
                  <a:pt x="112733" y="995191"/>
                </a:lnTo>
                <a:lnTo>
                  <a:pt x="140576" y="1032421"/>
                </a:lnTo>
                <a:lnTo>
                  <a:pt x="170987" y="1067434"/>
                </a:lnTo>
                <a:lnTo>
                  <a:pt x="203825" y="1100099"/>
                </a:lnTo>
                <a:lnTo>
                  <a:pt x="238949" y="1130284"/>
                </a:lnTo>
                <a:lnTo>
                  <a:pt x="276218" y="1157858"/>
                </a:lnTo>
                <a:lnTo>
                  <a:pt x="315493" y="1182691"/>
                </a:lnTo>
                <a:lnTo>
                  <a:pt x="356632" y="1204651"/>
                </a:lnTo>
                <a:lnTo>
                  <a:pt x="399495" y="1223606"/>
                </a:lnTo>
                <a:lnTo>
                  <a:pt x="443941" y="1239426"/>
                </a:lnTo>
                <a:lnTo>
                  <a:pt x="489829" y="1251980"/>
                </a:lnTo>
                <a:lnTo>
                  <a:pt x="537020" y="1261135"/>
                </a:lnTo>
                <a:lnTo>
                  <a:pt x="585372" y="1266762"/>
                </a:lnTo>
                <a:lnTo>
                  <a:pt x="634746" y="1268730"/>
                </a:lnTo>
                <a:lnTo>
                  <a:pt x="649986" y="1268004"/>
                </a:lnTo>
                <a:lnTo>
                  <a:pt x="666750" y="1267967"/>
                </a:lnTo>
                <a:lnTo>
                  <a:pt x="714953" y="1263591"/>
                </a:lnTo>
                <a:lnTo>
                  <a:pt x="762046" y="1255718"/>
                </a:lnTo>
                <a:lnTo>
                  <a:pt x="807895" y="1244482"/>
                </a:lnTo>
                <a:lnTo>
                  <a:pt x="852367" y="1230014"/>
                </a:lnTo>
                <a:lnTo>
                  <a:pt x="895328" y="1212446"/>
                </a:lnTo>
                <a:lnTo>
                  <a:pt x="936646" y="1191911"/>
                </a:lnTo>
                <a:lnTo>
                  <a:pt x="976188" y="1168540"/>
                </a:lnTo>
                <a:lnTo>
                  <a:pt x="1013864" y="1142430"/>
                </a:lnTo>
                <a:lnTo>
                  <a:pt x="1049408" y="1113820"/>
                </a:lnTo>
                <a:lnTo>
                  <a:pt x="1082821" y="1082735"/>
                </a:lnTo>
                <a:lnTo>
                  <a:pt x="1113924" y="1049342"/>
                </a:lnTo>
                <a:lnTo>
                  <a:pt x="1142585" y="1013773"/>
                </a:lnTo>
                <a:lnTo>
                  <a:pt x="1168670" y="976162"/>
                </a:lnTo>
                <a:lnTo>
                  <a:pt x="1192047" y="936638"/>
                </a:lnTo>
                <a:lnTo>
                  <a:pt x="1212582" y="895335"/>
                </a:lnTo>
                <a:lnTo>
                  <a:pt x="1230142" y="852385"/>
                </a:lnTo>
                <a:lnTo>
                  <a:pt x="1242822" y="813371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9">
            <a:extLst>
              <a:ext uri="{FF2B5EF4-FFF2-40B4-BE49-F238E27FC236}">
                <a16:creationId xmlns:a16="http://schemas.microsoft.com/office/drawing/2014/main" id="{0FF1CFA6-38F1-43A6-9436-B9711A387863}"/>
              </a:ext>
            </a:extLst>
          </p:cNvPr>
          <p:cNvSpPr/>
          <p:nvPr/>
        </p:nvSpPr>
        <p:spPr>
          <a:xfrm>
            <a:off x="5932283" y="2893483"/>
            <a:ext cx="1014983" cy="246125"/>
          </a:xfrm>
          <a:prstGeom prst="rect">
            <a:avLst/>
          </a:pr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21">
            <a:extLst>
              <a:ext uri="{FF2B5EF4-FFF2-40B4-BE49-F238E27FC236}">
                <a16:creationId xmlns:a16="http://schemas.microsoft.com/office/drawing/2014/main" id="{B0D36563-D859-4C90-866C-884054FF0450}"/>
              </a:ext>
            </a:extLst>
          </p:cNvPr>
          <p:cNvSpPr/>
          <p:nvPr/>
        </p:nvSpPr>
        <p:spPr>
          <a:xfrm>
            <a:off x="7636115" y="4576741"/>
            <a:ext cx="1014983" cy="249936"/>
          </a:xfrm>
          <a:prstGeom prst="rect">
            <a:avLst/>
          </a:pr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22">
            <a:extLst>
              <a:ext uri="{FF2B5EF4-FFF2-40B4-BE49-F238E27FC236}">
                <a16:creationId xmlns:a16="http://schemas.microsoft.com/office/drawing/2014/main" id="{6525F07D-2DD5-4F70-B9B7-4C05946EB599}"/>
              </a:ext>
            </a:extLst>
          </p:cNvPr>
          <p:cNvSpPr/>
          <p:nvPr/>
        </p:nvSpPr>
        <p:spPr>
          <a:xfrm>
            <a:off x="4228451" y="4576741"/>
            <a:ext cx="1014983" cy="249936"/>
          </a:xfrm>
          <a:prstGeom prst="rect">
            <a:avLst/>
          </a:pr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23">
            <a:extLst>
              <a:ext uri="{FF2B5EF4-FFF2-40B4-BE49-F238E27FC236}">
                <a16:creationId xmlns:a16="http://schemas.microsoft.com/office/drawing/2014/main" id="{916FAC6C-CCC9-4664-B787-5ABAD403DAE2}"/>
              </a:ext>
            </a:extLst>
          </p:cNvPr>
          <p:cNvSpPr txBox="1"/>
          <p:nvPr/>
        </p:nvSpPr>
        <p:spPr>
          <a:xfrm>
            <a:off x="5553952" y="3800517"/>
            <a:ext cx="1743459" cy="6591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54635" marR="5080" indent="-242570">
              <a:lnSpc>
                <a:spcPct val="100000"/>
              </a:lnSpc>
              <a:spcBef>
                <a:spcPts val="100"/>
              </a:spcBef>
            </a:pPr>
            <a:r>
              <a:rPr lang="en-US" sz="1400" spc="190" dirty="0">
                <a:solidFill>
                  <a:srgbClr val="4A4F55"/>
                </a:solidFill>
                <a:latin typeface="Trebuchet MS"/>
                <a:cs typeface="Trebuchet MS"/>
              </a:rPr>
              <a:t>Commitment to Digital and Innovation</a:t>
            </a:r>
            <a:endParaRPr sz="1400" dirty="0">
              <a:latin typeface="Trebuchet MS"/>
              <a:cs typeface="Trebuchet MS"/>
            </a:endParaRPr>
          </a:p>
        </p:txBody>
      </p:sp>
      <p:sp>
        <p:nvSpPr>
          <p:cNvPr id="38" name="object 24">
            <a:extLst>
              <a:ext uri="{FF2B5EF4-FFF2-40B4-BE49-F238E27FC236}">
                <a16:creationId xmlns:a16="http://schemas.microsoft.com/office/drawing/2014/main" id="{C65E6B28-BE39-4361-BC80-7FB9FE34AF88}"/>
              </a:ext>
            </a:extLst>
          </p:cNvPr>
          <p:cNvSpPr txBox="1"/>
          <p:nvPr/>
        </p:nvSpPr>
        <p:spPr>
          <a:xfrm>
            <a:off x="3908959" y="3616445"/>
            <a:ext cx="1170438" cy="56618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156845">
              <a:lnSpc>
                <a:spcPct val="100000"/>
              </a:lnSpc>
              <a:spcBef>
                <a:spcPts val="95"/>
              </a:spcBef>
            </a:pPr>
            <a:r>
              <a:rPr lang="en-US" sz="1200" spc="105" dirty="0">
                <a:solidFill>
                  <a:srgbClr val="4A4F55"/>
                </a:solidFill>
                <a:latin typeface="Trebuchet MS"/>
                <a:cs typeface="Trebuchet MS"/>
              </a:rPr>
              <a:t>Data analytics/use of insights</a:t>
            </a:r>
            <a:endParaRPr sz="1200" dirty="0">
              <a:latin typeface="Trebuchet MS"/>
              <a:cs typeface="Trebuchet MS"/>
            </a:endParaRPr>
          </a:p>
        </p:txBody>
      </p:sp>
      <p:sp>
        <p:nvSpPr>
          <p:cNvPr id="39" name="object 25">
            <a:extLst>
              <a:ext uri="{FF2B5EF4-FFF2-40B4-BE49-F238E27FC236}">
                <a16:creationId xmlns:a16="http://schemas.microsoft.com/office/drawing/2014/main" id="{14E61741-7C06-4675-9A35-D785FED897BC}"/>
              </a:ext>
            </a:extLst>
          </p:cNvPr>
          <p:cNvSpPr txBox="1"/>
          <p:nvPr/>
        </p:nvSpPr>
        <p:spPr>
          <a:xfrm>
            <a:off x="7604560" y="3648409"/>
            <a:ext cx="1243964" cy="6585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indent="34925">
              <a:lnSpc>
                <a:spcPct val="100000"/>
              </a:lnSpc>
              <a:spcBef>
                <a:spcPts val="95"/>
              </a:spcBef>
            </a:pPr>
            <a:r>
              <a:rPr lang="en-US" sz="1400" spc="100" dirty="0">
                <a:solidFill>
                  <a:srgbClr val="4A4F55"/>
                </a:solidFill>
                <a:latin typeface="Trebuchet MS"/>
                <a:cs typeface="Trebuchet MS"/>
              </a:rPr>
              <a:t>Open Banking/Use of APIS</a:t>
            </a:r>
            <a:endParaRPr sz="1400" dirty="0">
              <a:latin typeface="Trebuchet MS"/>
              <a:cs typeface="Trebuchet MS"/>
            </a:endParaRPr>
          </a:p>
        </p:txBody>
      </p:sp>
      <p:sp>
        <p:nvSpPr>
          <p:cNvPr id="40" name="object 26">
            <a:extLst>
              <a:ext uri="{FF2B5EF4-FFF2-40B4-BE49-F238E27FC236}">
                <a16:creationId xmlns:a16="http://schemas.microsoft.com/office/drawing/2014/main" id="{2E3D2A88-A235-4DE8-8457-C9C14E6ACD1E}"/>
              </a:ext>
            </a:extLst>
          </p:cNvPr>
          <p:cNvSpPr txBox="1"/>
          <p:nvPr/>
        </p:nvSpPr>
        <p:spPr>
          <a:xfrm>
            <a:off x="5805791" y="2074579"/>
            <a:ext cx="1256283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algn="ctr">
              <a:lnSpc>
                <a:spcPct val="100000"/>
              </a:lnSpc>
              <a:spcBef>
                <a:spcPts val="95"/>
              </a:spcBef>
            </a:pPr>
            <a:r>
              <a:rPr lang="en-US" sz="1400" spc="130" dirty="0">
                <a:solidFill>
                  <a:srgbClr val="4A4F55"/>
                </a:solidFill>
                <a:latin typeface="Trebuchet MS"/>
                <a:cs typeface="Trebuchet MS"/>
              </a:rPr>
              <a:t>Fintech partnerships</a:t>
            </a:r>
            <a:endParaRPr sz="1400" dirty="0">
              <a:latin typeface="Trebuchet MS"/>
              <a:cs typeface="Trebuchet MS"/>
            </a:endParaRPr>
          </a:p>
        </p:txBody>
      </p:sp>
      <p:sp>
        <p:nvSpPr>
          <p:cNvPr id="41" name="object 27">
            <a:extLst>
              <a:ext uri="{FF2B5EF4-FFF2-40B4-BE49-F238E27FC236}">
                <a16:creationId xmlns:a16="http://schemas.microsoft.com/office/drawing/2014/main" id="{C42770B1-B7F0-4A28-89F6-FC0E58F26D70}"/>
              </a:ext>
            </a:extLst>
          </p:cNvPr>
          <p:cNvSpPr txBox="1"/>
          <p:nvPr/>
        </p:nvSpPr>
        <p:spPr>
          <a:xfrm>
            <a:off x="5831191" y="5442609"/>
            <a:ext cx="1243330" cy="65851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38100" marR="5080" indent="-26034" algn="just">
              <a:lnSpc>
                <a:spcPct val="100000"/>
              </a:lnSpc>
              <a:spcBef>
                <a:spcPts val="95"/>
              </a:spcBef>
            </a:pPr>
            <a:r>
              <a:rPr lang="en-US" sz="1400" spc="60" dirty="0">
                <a:solidFill>
                  <a:srgbClr val="4A4F55"/>
                </a:solidFill>
                <a:latin typeface="Trebuchet MS"/>
                <a:cs typeface="Trebuchet MS"/>
              </a:rPr>
              <a:t>Artificial Intelligence &amp; Blockchain</a:t>
            </a:r>
            <a:endParaRPr sz="1400" dirty="0">
              <a:latin typeface="Trebuchet MS"/>
              <a:cs typeface="Trebuchet MS"/>
            </a:endParaRPr>
          </a:p>
        </p:txBody>
      </p:sp>
      <p:sp>
        <p:nvSpPr>
          <p:cNvPr id="42" name="object 19">
            <a:extLst>
              <a:ext uri="{FF2B5EF4-FFF2-40B4-BE49-F238E27FC236}">
                <a16:creationId xmlns:a16="http://schemas.microsoft.com/office/drawing/2014/main" id="{F44B9F8C-6190-4782-8D9C-5BF0EAB500C8}"/>
              </a:ext>
            </a:extLst>
          </p:cNvPr>
          <p:cNvSpPr/>
          <p:nvPr/>
        </p:nvSpPr>
        <p:spPr>
          <a:xfrm>
            <a:off x="8161641" y="2680780"/>
            <a:ext cx="1093469" cy="106914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3" name="Group 42"/>
          <p:cNvGrpSpPr/>
          <p:nvPr/>
        </p:nvGrpSpPr>
        <p:grpSpPr>
          <a:xfrm>
            <a:off x="10573046" y="0"/>
            <a:ext cx="1597721" cy="1615209"/>
            <a:chOff x="10594279" y="-15009"/>
            <a:chExt cx="1597721" cy="1615209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B2F1FD8C-26EA-47D2-8404-588BA4BBACEB}"/>
                </a:ext>
              </a:extLst>
            </p:cNvPr>
            <p:cNvGrpSpPr/>
            <p:nvPr/>
          </p:nvGrpSpPr>
          <p:grpSpPr>
            <a:xfrm>
              <a:off x="10594279" y="-15009"/>
              <a:ext cx="1597721" cy="1615209"/>
              <a:chOff x="10594279" y="-15009"/>
              <a:chExt cx="1597721" cy="1615209"/>
            </a:xfrm>
          </p:grpSpPr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36AD23A3-DE25-4538-8AC8-0E51F1E0581F}"/>
                  </a:ext>
                </a:extLst>
              </p:cNvPr>
              <p:cNvGrpSpPr/>
              <p:nvPr/>
            </p:nvGrpSpPr>
            <p:grpSpPr>
              <a:xfrm>
                <a:off x="10594279" y="-15009"/>
                <a:ext cx="1597721" cy="1615209"/>
                <a:chOff x="10594279" y="-15009"/>
                <a:chExt cx="1597721" cy="1615209"/>
              </a:xfrm>
            </p:grpSpPr>
            <p:sp>
              <p:nvSpPr>
                <p:cNvPr id="48" name="Right Triangle 47">
                  <a:extLst>
                    <a:ext uri="{FF2B5EF4-FFF2-40B4-BE49-F238E27FC236}">
                      <a16:creationId xmlns:a16="http://schemas.microsoft.com/office/drawing/2014/main" id="{0A03C037-AD20-47EE-8BE5-895488674BF0}"/>
                    </a:ext>
                  </a:extLst>
                </p:cNvPr>
                <p:cNvSpPr/>
                <p:nvPr/>
              </p:nvSpPr>
              <p:spPr bwMode="auto">
                <a:xfrm>
                  <a:off x="10594279" y="-15009"/>
                  <a:ext cx="1597660" cy="1600200"/>
                </a:xfrm>
                <a:prstGeom prst="rtTriangle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  <p:sp>
              <p:nvSpPr>
                <p:cNvPr id="49" name="Right Triangle 48">
                  <a:extLst>
                    <a:ext uri="{FF2B5EF4-FFF2-40B4-BE49-F238E27FC236}">
                      <a16:creationId xmlns:a16="http://schemas.microsoft.com/office/drawing/2014/main" id="{49F901B3-2A93-4ED2-A00E-BF69FF78C77C}"/>
                    </a:ext>
                  </a:extLst>
                </p:cNvPr>
                <p:cNvSpPr/>
                <p:nvPr/>
              </p:nvSpPr>
              <p:spPr bwMode="auto">
                <a:xfrm rot="10800000">
                  <a:off x="10594340" y="0"/>
                  <a:ext cx="1597660" cy="1600200"/>
                </a:xfrm>
                <a:prstGeom prst="rtTriangl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</p:grpSp>
          <p:pic>
            <p:nvPicPr>
              <p:cNvPr id="47" name="Picture 46">
                <a:extLst>
                  <a:ext uri="{FF2B5EF4-FFF2-40B4-BE49-F238E27FC236}">
                    <a16:creationId xmlns:a16="http://schemas.microsoft.com/office/drawing/2014/main" id="{EDE04F49-697D-409B-BB11-F88A15AD54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3748"/>
              <a:stretch/>
            </p:blipFill>
            <p:spPr>
              <a:xfrm>
                <a:off x="11454726" y="301037"/>
                <a:ext cx="394374" cy="386940"/>
              </a:xfrm>
              <a:prstGeom prst="rect">
                <a:avLst/>
              </a:prstGeom>
            </p:spPr>
          </p:pic>
        </p:grp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7F2355C5-7A7B-455B-A50F-FE6F7A77BAE4}"/>
                </a:ext>
              </a:extLst>
            </p:cNvPr>
            <p:cNvSpPr/>
            <p:nvPr/>
          </p:nvSpPr>
          <p:spPr bwMode="auto">
            <a:xfrm>
              <a:off x="11393109" y="261649"/>
              <a:ext cx="575745" cy="46571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entury Gothic" pitchFamily="34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70058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165CC22-03E5-44D4-AF90-0B9B575ACD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0571768"/>
              </p:ext>
            </p:extLst>
          </p:nvPr>
        </p:nvGraphicFramePr>
        <p:xfrm>
          <a:off x="11356" y="0"/>
          <a:ext cx="12192000" cy="6858000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548289">
                  <a:extLst>
                    <a:ext uri="{9D8B030D-6E8A-4147-A177-3AD203B41FA5}">
                      <a16:colId xmlns:a16="http://schemas.microsoft.com/office/drawing/2014/main" val="1225932609"/>
                    </a:ext>
                  </a:extLst>
                </a:gridCol>
                <a:gridCol w="10643711">
                  <a:extLst>
                    <a:ext uri="{9D8B030D-6E8A-4147-A177-3AD203B41FA5}">
                      <a16:colId xmlns:a16="http://schemas.microsoft.com/office/drawing/2014/main" val="165969625"/>
                    </a:ext>
                  </a:extLst>
                </a:gridCol>
              </a:tblGrid>
              <a:tr h="685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4000" b="1" i="0" kern="1200" dirty="0">
                        <a:solidFill>
                          <a:schemeClr val="dk1"/>
                        </a:solidFill>
                        <a:latin typeface="Futura CE Book" panose="02000504030000020003" pitchFamily="2" charset="0"/>
                        <a:ea typeface="+mn-ea"/>
                        <a:cs typeface="+mn-cs"/>
                      </a:endParaRPr>
                    </a:p>
                  </a:txBody>
                  <a:tcPr vert="vert27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1371600" marR="0" lvl="3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de-AT" sz="1600" i="0" dirty="0">
                        <a:latin typeface="Futura CE Book" panose="02000504030000020003" pitchFamily="2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486999"/>
                  </a:ext>
                </a:extLst>
              </a:tr>
            </a:tbl>
          </a:graphicData>
        </a:graphic>
      </p:graphicFrame>
      <p:sp>
        <p:nvSpPr>
          <p:cNvPr id="23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>
            <a:off x="166255" y="6367324"/>
            <a:ext cx="3860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A Brave New World? The Future of Banking in Emerging Europe </a:t>
            </a:r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24" name="Slide Number Placeholder 19">
            <a:extLst>
              <a:ext uri="{FF2B5EF4-FFF2-40B4-BE49-F238E27FC236}">
                <a16:creationId xmlns:a16="http://schemas.microsoft.com/office/drawing/2014/main" id="{EE238113-639A-48D7-A13F-6F830A20D66C}"/>
              </a:ext>
            </a:extLst>
          </p:cNvPr>
          <p:cNvSpPr txBox="1">
            <a:spLocks/>
          </p:cNvSpPr>
          <p:nvPr/>
        </p:nvSpPr>
        <p:spPr>
          <a:xfrm>
            <a:off x="8737602" y="6356353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939B1FA-81F2-4940-9AF3-5EAFB5D6669B}" type="slidenum">
              <a:rPr lang="en-US" sz="800" smtClean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pPr algn="r"/>
              <a:t>3</a:t>
            </a:fld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C1ABFB-D037-41C9-85D5-7FAE06753ACF}"/>
              </a:ext>
            </a:extLst>
          </p:cNvPr>
          <p:cNvSpPr/>
          <p:nvPr/>
        </p:nvSpPr>
        <p:spPr bwMode="auto">
          <a:xfrm>
            <a:off x="1689347" y="1753695"/>
            <a:ext cx="10159753" cy="106238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7ECF4C5-B426-4B1B-9651-B5399180F612}"/>
              </a:ext>
            </a:extLst>
          </p:cNvPr>
          <p:cNvSpPr/>
          <p:nvPr/>
        </p:nvSpPr>
        <p:spPr>
          <a:xfrm rot="16200000">
            <a:off x="-1854983" y="2986002"/>
            <a:ext cx="537085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" sz="2800" dirty="0">
                <a:latin typeface="Futura CE Book" panose="02000504030000020003"/>
                <a:ea typeface="Roboto Condensed" panose="02000000000000000000" pitchFamily="2" charset="0"/>
              </a:rPr>
              <a:t>Banks must adopt to low interest rates</a:t>
            </a:r>
          </a:p>
        </p:txBody>
      </p:sp>
      <p:sp>
        <p:nvSpPr>
          <p:cNvPr id="15" name="object 4">
            <a:extLst>
              <a:ext uri="{FF2B5EF4-FFF2-40B4-BE49-F238E27FC236}">
                <a16:creationId xmlns:a16="http://schemas.microsoft.com/office/drawing/2014/main" id="{27B37E1D-FCD7-48CE-A647-BF2E1392071C}"/>
              </a:ext>
            </a:extLst>
          </p:cNvPr>
          <p:cNvSpPr txBox="1"/>
          <p:nvPr/>
        </p:nvSpPr>
        <p:spPr>
          <a:xfrm>
            <a:off x="2002520" y="871896"/>
            <a:ext cx="8427576" cy="988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519">
              <a:lnSpc>
                <a:spcPct val="150000"/>
              </a:lnSpc>
            </a:pPr>
            <a:r>
              <a:rPr lang="en-US" sz="2800" dirty="0">
                <a:latin typeface="Futura CE Book" panose="02000504030000020003"/>
              </a:rPr>
              <a:t>Development of Interest Margins</a:t>
            </a:r>
            <a:endParaRPr lang="en-US" sz="2800" b="1" dirty="0">
              <a:latin typeface="Futura CE Book" panose="02000504030000020003"/>
              <a:cs typeface="Arial"/>
            </a:endParaRPr>
          </a:p>
          <a:p>
            <a:pPr marL="11519">
              <a:lnSpc>
                <a:spcPct val="150000"/>
              </a:lnSpc>
            </a:pPr>
            <a:endParaRPr lang="en-US" sz="3600" b="1" dirty="0">
              <a:solidFill>
                <a:schemeClr val="bg1">
                  <a:lumMod val="50000"/>
                </a:schemeClr>
              </a:solidFill>
              <a:latin typeface="Futura CE Book" panose="02000504030000020003" pitchFamily="2" charset="0"/>
              <a:cs typeface="Arial"/>
            </a:endParaRPr>
          </a:p>
        </p:txBody>
      </p:sp>
      <p:sp>
        <p:nvSpPr>
          <p:cNvPr id="17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>
            <a:off x="2355507" y="5858200"/>
            <a:ext cx="3860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Source: World Bank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4580" y="1999363"/>
            <a:ext cx="8949690" cy="3714837"/>
          </a:xfrm>
          <a:prstGeom prst="rect">
            <a:avLst/>
          </a:prstGeom>
        </p:spPr>
      </p:pic>
      <p:grpSp>
        <p:nvGrpSpPr>
          <p:cNvPr id="18" name="Group 17"/>
          <p:cNvGrpSpPr/>
          <p:nvPr/>
        </p:nvGrpSpPr>
        <p:grpSpPr>
          <a:xfrm>
            <a:off x="10573046" y="0"/>
            <a:ext cx="1597721" cy="1615209"/>
            <a:chOff x="10594279" y="-15009"/>
            <a:chExt cx="1597721" cy="16152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2F1FD8C-26EA-47D2-8404-588BA4BBACEB}"/>
                </a:ext>
              </a:extLst>
            </p:cNvPr>
            <p:cNvGrpSpPr/>
            <p:nvPr/>
          </p:nvGrpSpPr>
          <p:grpSpPr>
            <a:xfrm>
              <a:off x="10594279" y="-15009"/>
              <a:ext cx="1597721" cy="1615209"/>
              <a:chOff x="10594279" y="-15009"/>
              <a:chExt cx="1597721" cy="1615209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36AD23A3-DE25-4538-8AC8-0E51F1E0581F}"/>
                  </a:ext>
                </a:extLst>
              </p:cNvPr>
              <p:cNvGrpSpPr/>
              <p:nvPr/>
            </p:nvGrpSpPr>
            <p:grpSpPr>
              <a:xfrm>
                <a:off x="10594279" y="-15009"/>
                <a:ext cx="1597721" cy="1615209"/>
                <a:chOff x="10594279" y="-15009"/>
                <a:chExt cx="1597721" cy="1615209"/>
              </a:xfrm>
            </p:grpSpPr>
            <p:sp>
              <p:nvSpPr>
                <p:cNvPr id="25" name="Right Triangle 24">
                  <a:extLst>
                    <a:ext uri="{FF2B5EF4-FFF2-40B4-BE49-F238E27FC236}">
                      <a16:creationId xmlns:a16="http://schemas.microsoft.com/office/drawing/2014/main" id="{0A03C037-AD20-47EE-8BE5-895488674BF0}"/>
                    </a:ext>
                  </a:extLst>
                </p:cNvPr>
                <p:cNvSpPr/>
                <p:nvPr/>
              </p:nvSpPr>
              <p:spPr bwMode="auto">
                <a:xfrm>
                  <a:off x="10594279" y="-15009"/>
                  <a:ext cx="1597660" cy="1600200"/>
                </a:xfrm>
                <a:prstGeom prst="rtTriangle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  <p:sp>
              <p:nvSpPr>
                <p:cNvPr id="26" name="Right Triangle 25">
                  <a:extLst>
                    <a:ext uri="{FF2B5EF4-FFF2-40B4-BE49-F238E27FC236}">
                      <a16:creationId xmlns:a16="http://schemas.microsoft.com/office/drawing/2014/main" id="{49F901B3-2A93-4ED2-A00E-BF69FF78C77C}"/>
                    </a:ext>
                  </a:extLst>
                </p:cNvPr>
                <p:cNvSpPr/>
                <p:nvPr/>
              </p:nvSpPr>
              <p:spPr bwMode="auto">
                <a:xfrm rot="10800000">
                  <a:off x="10594340" y="0"/>
                  <a:ext cx="1597660" cy="1600200"/>
                </a:xfrm>
                <a:prstGeom prst="rtTriangl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</p:grpSp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EDE04F49-697D-409B-BB11-F88A15AD54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3748"/>
              <a:stretch/>
            </p:blipFill>
            <p:spPr>
              <a:xfrm>
                <a:off x="11454726" y="301037"/>
                <a:ext cx="394374" cy="386940"/>
              </a:xfrm>
              <a:prstGeom prst="rect">
                <a:avLst/>
              </a:prstGeom>
            </p:spPr>
          </p:pic>
        </p:grp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F2355C5-7A7B-455B-A50F-FE6F7A77BAE4}"/>
                </a:ext>
              </a:extLst>
            </p:cNvPr>
            <p:cNvSpPr/>
            <p:nvPr/>
          </p:nvSpPr>
          <p:spPr bwMode="auto">
            <a:xfrm>
              <a:off x="11393109" y="261649"/>
              <a:ext cx="575745" cy="46571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entury Gothic" pitchFamily="34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903369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165CC22-03E5-44D4-AF90-0B9B575ACD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0315056"/>
              </p:ext>
            </p:extLst>
          </p:nvPr>
        </p:nvGraphicFramePr>
        <p:xfrm>
          <a:off x="-218878" y="653"/>
          <a:ext cx="2630608" cy="6858000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702374">
                  <a:extLst>
                    <a:ext uri="{9D8B030D-6E8A-4147-A177-3AD203B41FA5}">
                      <a16:colId xmlns:a16="http://schemas.microsoft.com/office/drawing/2014/main" val="1225932609"/>
                    </a:ext>
                  </a:extLst>
                </a:gridCol>
                <a:gridCol w="928234">
                  <a:extLst>
                    <a:ext uri="{9D8B030D-6E8A-4147-A177-3AD203B41FA5}">
                      <a16:colId xmlns:a16="http://schemas.microsoft.com/office/drawing/2014/main" val="165969625"/>
                    </a:ext>
                  </a:extLst>
                </a:gridCol>
              </a:tblGrid>
              <a:tr h="685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4000" b="1" i="0" kern="1200" dirty="0">
                        <a:solidFill>
                          <a:schemeClr val="dk1"/>
                        </a:solidFill>
                        <a:latin typeface="Futura CE Book" panose="02000504030000020003" pitchFamily="2" charset="0"/>
                        <a:ea typeface="+mn-ea"/>
                        <a:cs typeface="+mn-cs"/>
                      </a:endParaRPr>
                    </a:p>
                  </a:txBody>
                  <a:tcPr vert="vert27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1371600" marR="0" lvl="3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de-AT" sz="1600" i="0" dirty="0">
                        <a:latin typeface="Futura CE Book" panose="02000504030000020003" pitchFamily="2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486999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7ECF4C5-B426-4B1B-9651-B5399180F612}"/>
              </a:ext>
            </a:extLst>
          </p:cNvPr>
          <p:cNvSpPr/>
          <p:nvPr/>
        </p:nvSpPr>
        <p:spPr>
          <a:xfrm rot="16200000">
            <a:off x="-1927426" y="2984435"/>
            <a:ext cx="5432577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en-GB" sz="2800" dirty="0">
                <a:latin typeface="Futura CE Book" panose="02000504030000020003"/>
                <a:ea typeface="Roboto Condensed" panose="02000000000000000000" pitchFamily="2" charset="0"/>
              </a:rPr>
              <a:t>Reduction of branches, staff and ATMs</a:t>
            </a:r>
          </a:p>
        </p:txBody>
      </p:sp>
      <p:sp>
        <p:nvSpPr>
          <p:cNvPr id="23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>
            <a:off x="166255" y="6367324"/>
            <a:ext cx="3860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A Brave New World? The Future of Banking in Emerging Europe </a:t>
            </a:r>
          </a:p>
        </p:txBody>
      </p:sp>
      <p:sp>
        <p:nvSpPr>
          <p:cNvPr id="24" name="Slide Number Placeholder 19">
            <a:extLst>
              <a:ext uri="{FF2B5EF4-FFF2-40B4-BE49-F238E27FC236}">
                <a16:creationId xmlns:a16="http://schemas.microsoft.com/office/drawing/2014/main" id="{EE238113-639A-48D7-A13F-6F830A20D66C}"/>
              </a:ext>
            </a:extLst>
          </p:cNvPr>
          <p:cNvSpPr txBox="1">
            <a:spLocks/>
          </p:cNvSpPr>
          <p:nvPr/>
        </p:nvSpPr>
        <p:spPr>
          <a:xfrm>
            <a:off x="8737602" y="6356353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939B1FA-81F2-4940-9AF3-5EAFB5D6669B}" type="slidenum">
              <a:rPr lang="en-US" sz="800" smtClean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pPr algn="r"/>
              <a:t>4</a:t>
            </a:fld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id="{27B37E1D-FCD7-48CE-A647-BF2E1392071C}"/>
              </a:ext>
            </a:extLst>
          </p:cNvPr>
          <p:cNvSpPr txBox="1"/>
          <p:nvPr/>
        </p:nvSpPr>
        <p:spPr>
          <a:xfrm>
            <a:off x="1877633" y="749680"/>
            <a:ext cx="5803327" cy="82262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519">
              <a:lnSpc>
                <a:spcPct val="150000"/>
              </a:lnSpc>
            </a:pPr>
            <a:r>
              <a:rPr lang="en-US" sz="3600" dirty="0">
                <a:latin typeface="Futura CE Book" panose="02000504030000020003" pitchFamily="2" charset="0"/>
                <a:cs typeface="Arial"/>
              </a:rPr>
              <a:t>Evolution of EU Banking Secto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C1ABFB-D037-41C9-85D5-7FAE06753ACF}"/>
              </a:ext>
            </a:extLst>
          </p:cNvPr>
          <p:cNvSpPr/>
          <p:nvPr/>
        </p:nvSpPr>
        <p:spPr bwMode="auto">
          <a:xfrm>
            <a:off x="1668508" y="1630218"/>
            <a:ext cx="10351477" cy="158178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13C1ABFB-D037-41C9-85D5-7FAE06753ACF}"/>
              </a:ext>
            </a:extLst>
          </p:cNvPr>
          <p:cNvSpPr/>
          <p:nvPr/>
        </p:nvSpPr>
        <p:spPr bwMode="auto">
          <a:xfrm>
            <a:off x="11635748" y="6583606"/>
            <a:ext cx="384237" cy="27439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56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 rot="16200000">
            <a:off x="1205982" y="4004851"/>
            <a:ext cx="1200218" cy="32107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dirty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thousands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7633" y="2291454"/>
            <a:ext cx="4424723" cy="3816866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34432" y="2279317"/>
            <a:ext cx="5047969" cy="3846456"/>
          </a:xfrm>
          <a:prstGeom prst="rect">
            <a:avLst/>
          </a:prstGeom>
        </p:spPr>
      </p:pic>
      <p:sp>
        <p:nvSpPr>
          <p:cNvPr id="43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 rot="5400000">
            <a:off x="11039592" y="4020091"/>
            <a:ext cx="1200218" cy="32107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dirty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thousands</a:t>
            </a:r>
          </a:p>
        </p:txBody>
      </p:sp>
      <p:sp>
        <p:nvSpPr>
          <p:cNvPr id="20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>
            <a:off x="2159594" y="6070055"/>
            <a:ext cx="3860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Source: European Banking Federation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10573046" y="0"/>
            <a:ext cx="1597721" cy="1615209"/>
            <a:chOff x="10594279" y="-15009"/>
            <a:chExt cx="1597721" cy="1615209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B2F1FD8C-26EA-47D2-8404-588BA4BBACEB}"/>
                </a:ext>
              </a:extLst>
            </p:cNvPr>
            <p:cNvGrpSpPr/>
            <p:nvPr/>
          </p:nvGrpSpPr>
          <p:grpSpPr>
            <a:xfrm>
              <a:off x="10594279" y="-15009"/>
              <a:ext cx="1597721" cy="1615209"/>
              <a:chOff x="10594279" y="-15009"/>
              <a:chExt cx="1597721" cy="1615209"/>
            </a:xfrm>
          </p:grpSpPr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36AD23A3-DE25-4538-8AC8-0E51F1E0581F}"/>
                  </a:ext>
                </a:extLst>
              </p:cNvPr>
              <p:cNvGrpSpPr/>
              <p:nvPr/>
            </p:nvGrpSpPr>
            <p:grpSpPr>
              <a:xfrm>
                <a:off x="10594279" y="-15009"/>
                <a:ext cx="1597721" cy="1615209"/>
                <a:chOff x="10594279" y="-15009"/>
                <a:chExt cx="1597721" cy="1615209"/>
              </a:xfrm>
            </p:grpSpPr>
            <p:sp>
              <p:nvSpPr>
                <p:cNvPr id="29" name="Right Triangle 28">
                  <a:extLst>
                    <a:ext uri="{FF2B5EF4-FFF2-40B4-BE49-F238E27FC236}">
                      <a16:creationId xmlns:a16="http://schemas.microsoft.com/office/drawing/2014/main" id="{0A03C037-AD20-47EE-8BE5-895488674BF0}"/>
                    </a:ext>
                  </a:extLst>
                </p:cNvPr>
                <p:cNvSpPr/>
                <p:nvPr/>
              </p:nvSpPr>
              <p:spPr bwMode="auto">
                <a:xfrm>
                  <a:off x="10594279" y="-15009"/>
                  <a:ext cx="1597660" cy="1600200"/>
                </a:xfrm>
                <a:prstGeom prst="rtTriangle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  <p:sp>
              <p:nvSpPr>
                <p:cNvPr id="30" name="Right Triangle 29">
                  <a:extLst>
                    <a:ext uri="{FF2B5EF4-FFF2-40B4-BE49-F238E27FC236}">
                      <a16:creationId xmlns:a16="http://schemas.microsoft.com/office/drawing/2014/main" id="{49F901B3-2A93-4ED2-A00E-BF69FF78C77C}"/>
                    </a:ext>
                  </a:extLst>
                </p:cNvPr>
                <p:cNvSpPr/>
                <p:nvPr/>
              </p:nvSpPr>
              <p:spPr bwMode="auto">
                <a:xfrm rot="10800000">
                  <a:off x="10594340" y="0"/>
                  <a:ext cx="1597660" cy="1600200"/>
                </a:xfrm>
                <a:prstGeom prst="rtTriangl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</p:grpSp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EDE04F49-697D-409B-BB11-F88A15AD54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3748"/>
              <a:stretch/>
            </p:blipFill>
            <p:spPr>
              <a:xfrm>
                <a:off x="11454726" y="301037"/>
                <a:ext cx="394374" cy="386940"/>
              </a:xfrm>
              <a:prstGeom prst="rect">
                <a:avLst/>
              </a:prstGeom>
            </p:spPr>
          </p:pic>
        </p:grp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F2355C5-7A7B-455B-A50F-FE6F7A77BAE4}"/>
                </a:ext>
              </a:extLst>
            </p:cNvPr>
            <p:cNvSpPr/>
            <p:nvPr/>
          </p:nvSpPr>
          <p:spPr bwMode="auto">
            <a:xfrm>
              <a:off x="11393109" y="261649"/>
              <a:ext cx="575745" cy="46571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entury Gothic" pitchFamily="34" charset="0"/>
                <a:cs typeface="Arial" charset="0"/>
              </a:endParaRPr>
            </a:p>
          </p:txBody>
        </p:sp>
      </p:grpSp>
      <p:sp>
        <p:nvSpPr>
          <p:cNvPr id="33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>
            <a:off x="6929714" y="6073865"/>
            <a:ext cx="3860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Source: European Banking Federation</a:t>
            </a:r>
          </a:p>
        </p:txBody>
      </p:sp>
    </p:spTree>
    <p:extLst>
      <p:ext uri="{BB962C8B-B14F-4D97-AF65-F5344CB8AC3E}">
        <p14:creationId xmlns:p14="http://schemas.microsoft.com/office/powerpoint/2010/main" val="22295480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165CC22-03E5-44D4-AF90-0B9B575ACD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6475460"/>
              </p:ext>
            </p:extLst>
          </p:nvPr>
        </p:nvGraphicFramePr>
        <p:xfrm>
          <a:off x="933" y="-26732"/>
          <a:ext cx="12192000" cy="6858000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462107">
                  <a:extLst>
                    <a:ext uri="{9D8B030D-6E8A-4147-A177-3AD203B41FA5}">
                      <a16:colId xmlns:a16="http://schemas.microsoft.com/office/drawing/2014/main" val="1225932609"/>
                    </a:ext>
                  </a:extLst>
                </a:gridCol>
                <a:gridCol w="10729893">
                  <a:extLst>
                    <a:ext uri="{9D8B030D-6E8A-4147-A177-3AD203B41FA5}">
                      <a16:colId xmlns:a16="http://schemas.microsoft.com/office/drawing/2014/main" val="165969625"/>
                    </a:ext>
                  </a:extLst>
                </a:gridCol>
              </a:tblGrid>
              <a:tr h="685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4000" b="1" i="0" kern="1200" dirty="0">
                        <a:solidFill>
                          <a:schemeClr val="dk1"/>
                        </a:solidFill>
                        <a:latin typeface="Futura CE Book" panose="02000504030000020003" pitchFamily="2" charset="0"/>
                        <a:ea typeface="+mn-ea"/>
                        <a:cs typeface="+mn-cs"/>
                      </a:endParaRPr>
                    </a:p>
                  </a:txBody>
                  <a:tcPr vert="vert27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1371600" marR="0" lvl="3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de-AT" sz="1600" i="0" dirty="0">
                        <a:latin typeface="Futura CE Book" panose="02000504030000020003" pitchFamily="2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486999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7ECF4C5-B426-4B1B-9651-B5399180F612}"/>
              </a:ext>
            </a:extLst>
          </p:cNvPr>
          <p:cNvSpPr/>
          <p:nvPr/>
        </p:nvSpPr>
        <p:spPr>
          <a:xfrm rot="16200000">
            <a:off x="-1285575" y="2955394"/>
            <a:ext cx="4009303" cy="8531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en-GB" sz="3600" dirty="0">
                <a:latin typeface="Futura CE Book" panose="02000504030000020003"/>
                <a:ea typeface="Roboto Condensed" panose="02000000000000000000" pitchFamily="2" charset="0"/>
              </a:rPr>
              <a:t>Increasing Digitization</a:t>
            </a:r>
          </a:p>
        </p:txBody>
      </p:sp>
      <p:sp>
        <p:nvSpPr>
          <p:cNvPr id="23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>
            <a:off x="166255" y="6367324"/>
            <a:ext cx="3860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A Brave New World? The Future of Banking in Emerging Europe </a:t>
            </a:r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24" name="Slide Number Placeholder 19">
            <a:extLst>
              <a:ext uri="{FF2B5EF4-FFF2-40B4-BE49-F238E27FC236}">
                <a16:creationId xmlns:a16="http://schemas.microsoft.com/office/drawing/2014/main" id="{EE238113-639A-48D7-A13F-6F830A20D66C}"/>
              </a:ext>
            </a:extLst>
          </p:cNvPr>
          <p:cNvSpPr txBox="1">
            <a:spLocks/>
          </p:cNvSpPr>
          <p:nvPr/>
        </p:nvSpPr>
        <p:spPr>
          <a:xfrm>
            <a:off x="8737602" y="6356353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939B1FA-81F2-4940-9AF3-5EAFB5D6669B}" type="slidenum">
              <a:rPr lang="en-US" sz="800" smtClean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pPr algn="r"/>
              <a:t>5</a:t>
            </a:fld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id="{27B37E1D-FCD7-48CE-A647-BF2E1392071C}"/>
              </a:ext>
            </a:extLst>
          </p:cNvPr>
          <p:cNvSpPr txBox="1"/>
          <p:nvPr/>
        </p:nvSpPr>
        <p:spPr>
          <a:xfrm>
            <a:off x="1981201" y="886522"/>
            <a:ext cx="7048773" cy="85429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519">
              <a:lnSpc>
                <a:spcPct val="150000"/>
              </a:lnSpc>
            </a:pPr>
            <a:r>
              <a:rPr lang="en-GB" sz="3200" dirty="0">
                <a:latin typeface="Futura CE Book" panose="02000504030000020003" pitchFamily="2" charset="0"/>
                <a:cs typeface="Arial"/>
              </a:rPr>
              <a:t>Digitization will affect all aspects of banking</a:t>
            </a:r>
            <a:endParaRPr lang="en-US" sz="3200" dirty="0">
              <a:latin typeface="Futura CE Book" panose="02000504030000020003" pitchFamily="2" charset="0"/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C1ABFB-D037-41C9-85D5-7FAE06753ACF}"/>
              </a:ext>
            </a:extLst>
          </p:cNvPr>
          <p:cNvSpPr/>
          <p:nvPr/>
        </p:nvSpPr>
        <p:spPr bwMode="auto">
          <a:xfrm>
            <a:off x="1739762" y="1669941"/>
            <a:ext cx="10159753" cy="106238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27" name="object 10">
            <a:extLst>
              <a:ext uri="{FF2B5EF4-FFF2-40B4-BE49-F238E27FC236}">
                <a16:creationId xmlns:a16="http://schemas.microsoft.com/office/drawing/2014/main" id="{BA837F25-94F2-44A4-98F7-2A69FDF8E816}"/>
              </a:ext>
            </a:extLst>
          </p:cNvPr>
          <p:cNvSpPr/>
          <p:nvPr/>
        </p:nvSpPr>
        <p:spPr>
          <a:xfrm>
            <a:off x="5522327" y="3147238"/>
            <a:ext cx="1835785" cy="1835785"/>
          </a:xfrm>
          <a:custGeom>
            <a:avLst/>
            <a:gdLst/>
            <a:ahLst/>
            <a:cxnLst/>
            <a:rect l="l" t="t" r="r" b="b"/>
            <a:pathLst>
              <a:path w="1835785" h="1835785">
                <a:moveTo>
                  <a:pt x="1835658" y="917438"/>
                </a:moveTo>
                <a:lnTo>
                  <a:pt x="1834133" y="870194"/>
                </a:lnTo>
                <a:lnTo>
                  <a:pt x="1830324" y="823712"/>
                </a:lnTo>
                <a:lnTo>
                  <a:pt x="1824989" y="777230"/>
                </a:lnTo>
                <a:lnTo>
                  <a:pt x="1816341" y="729985"/>
                </a:lnTo>
                <a:lnTo>
                  <a:pt x="1805357" y="683652"/>
                </a:lnTo>
                <a:lnTo>
                  <a:pt x="1792105" y="638293"/>
                </a:lnTo>
                <a:lnTo>
                  <a:pt x="1776649" y="593967"/>
                </a:lnTo>
                <a:lnTo>
                  <a:pt x="1759056" y="550739"/>
                </a:lnTo>
                <a:lnTo>
                  <a:pt x="1739392" y="508668"/>
                </a:lnTo>
                <a:lnTo>
                  <a:pt x="1717722" y="467816"/>
                </a:lnTo>
                <a:lnTo>
                  <a:pt x="1694113" y="428244"/>
                </a:lnTo>
                <a:lnTo>
                  <a:pt x="1668630" y="390015"/>
                </a:lnTo>
                <a:lnTo>
                  <a:pt x="1641339" y="353190"/>
                </a:lnTo>
                <a:lnTo>
                  <a:pt x="1612307" y="317830"/>
                </a:lnTo>
                <a:lnTo>
                  <a:pt x="1581599" y="283996"/>
                </a:lnTo>
                <a:lnTo>
                  <a:pt x="1549281" y="251751"/>
                </a:lnTo>
                <a:lnTo>
                  <a:pt x="1515419" y="221155"/>
                </a:lnTo>
                <a:lnTo>
                  <a:pt x="1480078" y="192271"/>
                </a:lnTo>
                <a:lnTo>
                  <a:pt x="1443326" y="165159"/>
                </a:lnTo>
                <a:lnTo>
                  <a:pt x="1405227" y="139882"/>
                </a:lnTo>
                <a:lnTo>
                  <a:pt x="1365848" y="116500"/>
                </a:lnTo>
                <a:lnTo>
                  <a:pt x="1325254" y="95075"/>
                </a:lnTo>
                <a:lnTo>
                  <a:pt x="1283353" y="75604"/>
                </a:lnTo>
                <a:lnTo>
                  <a:pt x="1240513" y="58282"/>
                </a:lnTo>
                <a:lnTo>
                  <a:pt x="1196845" y="43158"/>
                </a:lnTo>
                <a:lnTo>
                  <a:pt x="1152052" y="30177"/>
                </a:lnTo>
                <a:lnTo>
                  <a:pt x="1106375" y="19461"/>
                </a:lnTo>
                <a:lnTo>
                  <a:pt x="1059878" y="11070"/>
                </a:lnTo>
                <a:lnTo>
                  <a:pt x="1012628" y="5068"/>
                </a:lnTo>
                <a:lnTo>
                  <a:pt x="965454" y="1570"/>
                </a:lnTo>
                <a:lnTo>
                  <a:pt x="918210" y="14"/>
                </a:lnTo>
                <a:lnTo>
                  <a:pt x="917150" y="0"/>
                </a:lnTo>
                <a:lnTo>
                  <a:pt x="870204" y="1514"/>
                </a:lnTo>
                <a:lnTo>
                  <a:pt x="822415" y="5071"/>
                </a:lnTo>
                <a:lnTo>
                  <a:pt x="775260" y="11093"/>
                </a:lnTo>
                <a:lnTo>
                  <a:pt x="728872" y="19505"/>
                </a:lnTo>
                <a:lnTo>
                  <a:pt x="683255" y="30256"/>
                </a:lnTo>
                <a:lnTo>
                  <a:pt x="638499" y="43281"/>
                </a:lnTo>
                <a:lnTo>
                  <a:pt x="594672" y="58515"/>
                </a:lnTo>
                <a:lnTo>
                  <a:pt x="551845" y="75897"/>
                </a:lnTo>
                <a:lnTo>
                  <a:pt x="510084" y="95364"/>
                </a:lnTo>
                <a:lnTo>
                  <a:pt x="469459" y="116852"/>
                </a:lnTo>
                <a:lnTo>
                  <a:pt x="430039" y="140301"/>
                </a:lnTo>
                <a:lnTo>
                  <a:pt x="391891" y="165646"/>
                </a:lnTo>
                <a:lnTo>
                  <a:pt x="355085" y="192825"/>
                </a:lnTo>
                <a:lnTo>
                  <a:pt x="319690" y="221776"/>
                </a:lnTo>
                <a:lnTo>
                  <a:pt x="285773" y="252435"/>
                </a:lnTo>
                <a:lnTo>
                  <a:pt x="253404" y="284741"/>
                </a:lnTo>
                <a:lnTo>
                  <a:pt x="222651" y="318630"/>
                </a:lnTo>
                <a:lnTo>
                  <a:pt x="193583" y="354039"/>
                </a:lnTo>
                <a:lnTo>
                  <a:pt x="166268" y="390907"/>
                </a:lnTo>
                <a:lnTo>
                  <a:pt x="140775" y="429170"/>
                </a:lnTo>
                <a:lnTo>
                  <a:pt x="117174" y="468767"/>
                </a:lnTo>
                <a:lnTo>
                  <a:pt x="95531" y="509633"/>
                </a:lnTo>
                <a:lnTo>
                  <a:pt x="75917" y="551706"/>
                </a:lnTo>
                <a:lnTo>
                  <a:pt x="58399" y="594925"/>
                </a:lnTo>
                <a:lnTo>
                  <a:pt x="43047" y="639225"/>
                </a:lnTo>
                <a:lnTo>
                  <a:pt x="29928" y="684545"/>
                </a:lnTo>
                <a:lnTo>
                  <a:pt x="19112" y="730821"/>
                </a:lnTo>
                <a:lnTo>
                  <a:pt x="10667" y="777992"/>
                </a:lnTo>
                <a:lnTo>
                  <a:pt x="4571" y="823712"/>
                </a:lnTo>
                <a:lnTo>
                  <a:pt x="1523" y="870956"/>
                </a:lnTo>
                <a:lnTo>
                  <a:pt x="0" y="918200"/>
                </a:lnTo>
                <a:lnTo>
                  <a:pt x="1524" y="965444"/>
                </a:lnTo>
                <a:lnTo>
                  <a:pt x="5334" y="1011926"/>
                </a:lnTo>
                <a:lnTo>
                  <a:pt x="10668" y="1057646"/>
                </a:lnTo>
                <a:lnTo>
                  <a:pt x="19050" y="1102604"/>
                </a:lnTo>
                <a:lnTo>
                  <a:pt x="25908" y="1132064"/>
                </a:lnTo>
                <a:lnTo>
                  <a:pt x="25908" y="917438"/>
                </a:lnTo>
                <a:lnTo>
                  <a:pt x="26669" y="870956"/>
                </a:lnTo>
                <a:lnTo>
                  <a:pt x="30479" y="825998"/>
                </a:lnTo>
                <a:lnTo>
                  <a:pt x="35813" y="781040"/>
                </a:lnTo>
                <a:lnTo>
                  <a:pt x="44613" y="733170"/>
                </a:lnTo>
                <a:lnTo>
                  <a:pt x="55857" y="686307"/>
                </a:lnTo>
                <a:lnTo>
                  <a:pt x="69471" y="640514"/>
                </a:lnTo>
                <a:lnTo>
                  <a:pt x="85383" y="595854"/>
                </a:lnTo>
                <a:lnTo>
                  <a:pt x="103520" y="552389"/>
                </a:lnTo>
                <a:lnTo>
                  <a:pt x="123810" y="510182"/>
                </a:lnTo>
                <a:lnTo>
                  <a:pt x="146180" y="469295"/>
                </a:lnTo>
                <a:lnTo>
                  <a:pt x="170556" y="429790"/>
                </a:lnTo>
                <a:lnTo>
                  <a:pt x="196866" y="391731"/>
                </a:lnTo>
                <a:lnTo>
                  <a:pt x="225038" y="355180"/>
                </a:lnTo>
                <a:lnTo>
                  <a:pt x="254999" y="320200"/>
                </a:lnTo>
                <a:lnTo>
                  <a:pt x="286675" y="286852"/>
                </a:lnTo>
                <a:lnTo>
                  <a:pt x="319994" y="255200"/>
                </a:lnTo>
                <a:lnTo>
                  <a:pt x="354883" y="225306"/>
                </a:lnTo>
                <a:lnTo>
                  <a:pt x="391269" y="197233"/>
                </a:lnTo>
                <a:lnTo>
                  <a:pt x="429080" y="171043"/>
                </a:lnTo>
                <a:lnTo>
                  <a:pt x="468243" y="146799"/>
                </a:lnTo>
                <a:lnTo>
                  <a:pt x="508685" y="124563"/>
                </a:lnTo>
                <a:lnTo>
                  <a:pt x="550334" y="104398"/>
                </a:lnTo>
                <a:lnTo>
                  <a:pt x="593115" y="86366"/>
                </a:lnTo>
                <a:lnTo>
                  <a:pt x="636957" y="70531"/>
                </a:lnTo>
                <a:lnTo>
                  <a:pt x="681788" y="56954"/>
                </a:lnTo>
                <a:lnTo>
                  <a:pt x="727533" y="45698"/>
                </a:lnTo>
                <a:lnTo>
                  <a:pt x="774121" y="36825"/>
                </a:lnTo>
                <a:lnTo>
                  <a:pt x="821478" y="30399"/>
                </a:lnTo>
                <a:lnTo>
                  <a:pt x="868757" y="26545"/>
                </a:lnTo>
                <a:lnTo>
                  <a:pt x="918210" y="25136"/>
                </a:lnTo>
                <a:lnTo>
                  <a:pt x="963168" y="26634"/>
                </a:lnTo>
                <a:lnTo>
                  <a:pt x="1009650" y="29708"/>
                </a:lnTo>
                <a:lnTo>
                  <a:pt x="1057656" y="36006"/>
                </a:lnTo>
                <a:lnTo>
                  <a:pt x="1104755" y="44797"/>
                </a:lnTo>
                <a:lnTo>
                  <a:pt x="1151010" y="56035"/>
                </a:lnTo>
                <a:lnTo>
                  <a:pt x="1196308" y="69643"/>
                </a:lnTo>
                <a:lnTo>
                  <a:pt x="1240687" y="85597"/>
                </a:lnTo>
                <a:lnTo>
                  <a:pt x="1283741" y="103687"/>
                </a:lnTo>
                <a:lnTo>
                  <a:pt x="1325764" y="123999"/>
                </a:lnTo>
                <a:lnTo>
                  <a:pt x="1366623" y="146457"/>
                </a:lnTo>
                <a:lnTo>
                  <a:pt x="1405908" y="170772"/>
                </a:lnTo>
                <a:lnTo>
                  <a:pt x="1443948" y="197126"/>
                </a:lnTo>
                <a:lnTo>
                  <a:pt x="1480527" y="225359"/>
                </a:lnTo>
                <a:lnTo>
                  <a:pt x="1515574" y="255401"/>
                </a:lnTo>
                <a:lnTo>
                  <a:pt x="1549017" y="287183"/>
                </a:lnTo>
                <a:lnTo>
                  <a:pt x="1580784" y="320634"/>
                </a:lnTo>
                <a:lnTo>
                  <a:pt x="1610804" y="355684"/>
                </a:lnTo>
                <a:lnTo>
                  <a:pt x="1639004" y="392263"/>
                </a:lnTo>
                <a:lnTo>
                  <a:pt x="1665313" y="430302"/>
                </a:lnTo>
                <a:lnTo>
                  <a:pt x="1689660" y="469729"/>
                </a:lnTo>
                <a:lnTo>
                  <a:pt x="1711973" y="510476"/>
                </a:lnTo>
                <a:lnTo>
                  <a:pt x="1732179" y="552472"/>
                </a:lnTo>
                <a:lnTo>
                  <a:pt x="1750208" y="595647"/>
                </a:lnTo>
                <a:lnTo>
                  <a:pt x="1765988" y="639932"/>
                </a:lnTo>
                <a:lnTo>
                  <a:pt x="1779446" y="685255"/>
                </a:lnTo>
                <a:lnTo>
                  <a:pt x="1790512" y="731548"/>
                </a:lnTo>
                <a:lnTo>
                  <a:pt x="1799113" y="778739"/>
                </a:lnTo>
                <a:lnTo>
                  <a:pt x="1805177" y="826760"/>
                </a:lnTo>
                <a:lnTo>
                  <a:pt x="1808988" y="871718"/>
                </a:lnTo>
                <a:lnTo>
                  <a:pt x="1809750" y="918200"/>
                </a:lnTo>
                <a:lnTo>
                  <a:pt x="1809750" y="1133142"/>
                </a:lnTo>
                <a:lnTo>
                  <a:pt x="1816190" y="1105830"/>
                </a:lnTo>
                <a:lnTo>
                  <a:pt x="1824599" y="1059460"/>
                </a:lnTo>
                <a:lnTo>
                  <a:pt x="1830601" y="1012387"/>
                </a:lnTo>
                <a:lnTo>
                  <a:pt x="1834133" y="964682"/>
                </a:lnTo>
                <a:lnTo>
                  <a:pt x="1835658" y="917438"/>
                </a:lnTo>
                <a:close/>
              </a:path>
              <a:path w="1835785" h="1835785">
                <a:moveTo>
                  <a:pt x="1809750" y="1133142"/>
                </a:moveTo>
                <a:lnTo>
                  <a:pt x="1809750" y="918200"/>
                </a:lnTo>
                <a:lnTo>
                  <a:pt x="1808988" y="963920"/>
                </a:lnTo>
                <a:lnTo>
                  <a:pt x="1805177" y="1008878"/>
                </a:lnTo>
                <a:lnTo>
                  <a:pt x="1799032" y="1056964"/>
                </a:lnTo>
                <a:lnTo>
                  <a:pt x="1790364" y="1104210"/>
                </a:lnTo>
                <a:lnTo>
                  <a:pt x="1779243" y="1150545"/>
                </a:lnTo>
                <a:lnTo>
                  <a:pt x="1765741" y="1195901"/>
                </a:lnTo>
                <a:lnTo>
                  <a:pt x="1749928" y="1240207"/>
                </a:lnTo>
                <a:lnTo>
                  <a:pt x="1731874" y="1283394"/>
                </a:lnTo>
                <a:lnTo>
                  <a:pt x="1711650" y="1325393"/>
                </a:lnTo>
                <a:lnTo>
                  <a:pt x="1689326" y="1366134"/>
                </a:lnTo>
                <a:lnTo>
                  <a:pt x="1664973" y="1405548"/>
                </a:lnTo>
                <a:lnTo>
                  <a:pt x="1638662" y="1443565"/>
                </a:lnTo>
                <a:lnTo>
                  <a:pt x="1610463" y="1480116"/>
                </a:lnTo>
                <a:lnTo>
                  <a:pt x="1580447" y="1515131"/>
                </a:lnTo>
                <a:lnTo>
                  <a:pt x="1548684" y="1548541"/>
                </a:lnTo>
                <a:lnTo>
                  <a:pt x="1515244" y="1580276"/>
                </a:lnTo>
                <a:lnTo>
                  <a:pt x="1480078" y="1610359"/>
                </a:lnTo>
                <a:lnTo>
                  <a:pt x="1443618" y="1638443"/>
                </a:lnTo>
                <a:lnTo>
                  <a:pt x="1405572" y="1664737"/>
                </a:lnTo>
                <a:lnTo>
                  <a:pt x="1366133" y="1689078"/>
                </a:lnTo>
                <a:lnTo>
                  <a:pt x="1325254" y="1711452"/>
                </a:lnTo>
                <a:lnTo>
                  <a:pt x="1283353" y="1731624"/>
                </a:lnTo>
                <a:lnTo>
                  <a:pt x="1240154" y="1749689"/>
                </a:lnTo>
                <a:lnTo>
                  <a:pt x="1195842" y="1765525"/>
                </a:lnTo>
                <a:lnTo>
                  <a:pt x="1150490" y="1779059"/>
                </a:lnTo>
                <a:lnTo>
                  <a:pt x="1104166" y="1790225"/>
                </a:lnTo>
                <a:lnTo>
                  <a:pt x="1056942" y="1798951"/>
                </a:lnTo>
                <a:lnTo>
                  <a:pt x="1008888" y="1805168"/>
                </a:lnTo>
                <a:lnTo>
                  <a:pt x="963168" y="1808216"/>
                </a:lnTo>
                <a:lnTo>
                  <a:pt x="918210" y="1809714"/>
                </a:lnTo>
                <a:lnTo>
                  <a:pt x="917150" y="1809732"/>
                </a:lnTo>
                <a:lnTo>
                  <a:pt x="868757" y="1808400"/>
                </a:lnTo>
                <a:lnTo>
                  <a:pt x="820688" y="1804484"/>
                </a:lnTo>
                <a:lnTo>
                  <a:pt x="773313" y="1798052"/>
                </a:lnTo>
                <a:lnTo>
                  <a:pt x="726704" y="1789166"/>
                </a:lnTo>
                <a:lnTo>
                  <a:pt x="680936" y="1777888"/>
                </a:lnTo>
                <a:lnTo>
                  <a:pt x="636081" y="1764280"/>
                </a:lnTo>
                <a:lnTo>
                  <a:pt x="592213" y="1748401"/>
                </a:lnTo>
                <a:lnTo>
                  <a:pt x="549404" y="1730315"/>
                </a:lnTo>
                <a:lnTo>
                  <a:pt x="507728" y="1710082"/>
                </a:lnTo>
                <a:lnTo>
                  <a:pt x="467258" y="1687764"/>
                </a:lnTo>
                <a:lnTo>
                  <a:pt x="428067" y="1663423"/>
                </a:lnTo>
                <a:lnTo>
                  <a:pt x="390228" y="1637119"/>
                </a:lnTo>
                <a:lnTo>
                  <a:pt x="353815" y="1608915"/>
                </a:lnTo>
                <a:lnTo>
                  <a:pt x="318900" y="1578871"/>
                </a:lnTo>
                <a:lnTo>
                  <a:pt x="285557" y="1547050"/>
                </a:lnTo>
                <a:lnTo>
                  <a:pt x="253859" y="1513513"/>
                </a:lnTo>
                <a:lnTo>
                  <a:pt x="223879" y="1478321"/>
                </a:lnTo>
                <a:lnTo>
                  <a:pt x="195689" y="1441536"/>
                </a:lnTo>
                <a:lnTo>
                  <a:pt x="169364" y="1403218"/>
                </a:lnTo>
                <a:lnTo>
                  <a:pt x="144977" y="1363431"/>
                </a:lnTo>
                <a:lnTo>
                  <a:pt x="122600" y="1322234"/>
                </a:lnTo>
                <a:lnTo>
                  <a:pt x="102307" y="1279690"/>
                </a:lnTo>
                <a:lnTo>
                  <a:pt x="84170" y="1235861"/>
                </a:lnTo>
                <a:lnTo>
                  <a:pt x="68264" y="1190806"/>
                </a:lnTo>
                <a:lnTo>
                  <a:pt x="54660" y="1144589"/>
                </a:lnTo>
                <a:lnTo>
                  <a:pt x="43434" y="1097270"/>
                </a:lnTo>
                <a:lnTo>
                  <a:pt x="35814" y="1053074"/>
                </a:lnTo>
                <a:lnTo>
                  <a:pt x="30480" y="1008116"/>
                </a:lnTo>
                <a:lnTo>
                  <a:pt x="26670" y="963158"/>
                </a:lnTo>
                <a:lnTo>
                  <a:pt x="25908" y="917438"/>
                </a:lnTo>
                <a:lnTo>
                  <a:pt x="25908" y="1132064"/>
                </a:lnTo>
                <a:lnTo>
                  <a:pt x="43261" y="1195612"/>
                </a:lnTo>
                <a:lnTo>
                  <a:pt x="58762" y="1240452"/>
                </a:lnTo>
                <a:lnTo>
                  <a:pt x="76431" y="1284109"/>
                </a:lnTo>
                <a:lnTo>
                  <a:pt x="96196" y="1326529"/>
                </a:lnTo>
                <a:lnTo>
                  <a:pt x="117987" y="1367656"/>
                </a:lnTo>
                <a:lnTo>
                  <a:pt x="141733" y="1407435"/>
                </a:lnTo>
                <a:lnTo>
                  <a:pt x="167361" y="1445812"/>
                </a:lnTo>
                <a:lnTo>
                  <a:pt x="194800" y="1482731"/>
                </a:lnTo>
                <a:lnTo>
                  <a:pt x="223980" y="1518137"/>
                </a:lnTo>
                <a:lnTo>
                  <a:pt x="254828" y="1551976"/>
                </a:lnTo>
                <a:lnTo>
                  <a:pt x="287274" y="1584193"/>
                </a:lnTo>
                <a:lnTo>
                  <a:pt x="321246" y="1614732"/>
                </a:lnTo>
                <a:lnTo>
                  <a:pt x="356673" y="1643538"/>
                </a:lnTo>
                <a:lnTo>
                  <a:pt x="393483" y="1670557"/>
                </a:lnTo>
                <a:lnTo>
                  <a:pt x="431605" y="1695734"/>
                </a:lnTo>
                <a:lnTo>
                  <a:pt x="470968" y="1719013"/>
                </a:lnTo>
                <a:lnTo>
                  <a:pt x="511501" y="1740339"/>
                </a:lnTo>
                <a:lnTo>
                  <a:pt x="553132" y="1759658"/>
                </a:lnTo>
                <a:lnTo>
                  <a:pt x="595789" y="1776915"/>
                </a:lnTo>
                <a:lnTo>
                  <a:pt x="639402" y="1792054"/>
                </a:lnTo>
                <a:lnTo>
                  <a:pt x="683899" y="1805021"/>
                </a:lnTo>
                <a:lnTo>
                  <a:pt x="729209" y="1815761"/>
                </a:lnTo>
                <a:lnTo>
                  <a:pt x="775281" y="1824221"/>
                </a:lnTo>
                <a:lnTo>
                  <a:pt x="821478" y="1830272"/>
                </a:lnTo>
                <a:lnTo>
                  <a:pt x="868757" y="1834023"/>
                </a:lnTo>
                <a:lnTo>
                  <a:pt x="917150" y="1835346"/>
                </a:lnTo>
                <a:lnTo>
                  <a:pt x="965454" y="1834124"/>
                </a:lnTo>
                <a:lnTo>
                  <a:pt x="1011936" y="1830314"/>
                </a:lnTo>
                <a:lnTo>
                  <a:pt x="1057656" y="1824218"/>
                </a:lnTo>
                <a:lnTo>
                  <a:pt x="1104755" y="1815906"/>
                </a:lnTo>
                <a:lnTo>
                  <a:pt x="1151010" y="1805185"/>
                </a:lnTo>
                <a:lnTo>
                  <a:pt x="1196308" y="1792137"/>
                </a:lnTo>
                <a:lnTo>
                  <a:pt x="1240687" y="1776793"/>
                </a:lnTo>
                <a:lnTo>
                  <a:pt x="1283741" y="1759367"/>
                </a:lnTo>
                <a:lnTo>
                  <a:pt x="1325764" y="1739787"/>
                </a:lnTo>
                <a:lnTo>
                  <a:pt x="1366623" y="1718147"/>
                </a:lnTo>
                <a:lnTo>
                  <a:pt x="1406219" y="1694531"/>
                </a:lnTo>
                <a:lnTo>
                  <a:pt x="1444489" y="1669013"/>
                </a:lnTo>
                <a:lnTo>
                  <a:pt x="1481369" y="1641661"/>
                </a:lnTo>
                <a:lnTo>
                  <a:pt x="1516797" y="1612547"/>
                </a:lnTo>
                <a:lnTo>
                  <a:pt x="1550707" y="1581741"/>
                </a:lnTo>
                <a:lnTo>
                  <a:pt x="1583037" y="1549314"/>
                </a:lnTo>
                <a:lnTo>
                  <a:pt x="1613723" y="1515337"/>
                </a:lnTo>
                <a:lnTo>
                  <a:pt x="1642702" y="1479880"/>
                </a:lnTo>
                <a:lnTo>
                  <a:pt x="1669910" y="1443013"/>
                </a:lnTo>
                <a:lnTo>
                  <a:pt x="1695283" y="1404809"/>
                </a:lnTo>
                <a:lnTo>
                  <a:pt x="1718758" y="1365336"/>
                </a:lnTo>
                <a:lnTo>
                  <a:pt x="1740272" y="1324666"/>
                </a:lnTo>
                <a:lnTo>
                  <a:pt x="1759760" y="1282869"/>
                </a:lnTo>
                <a:lnTo>
                  <a:pt x="1777159" y="1240017"/>
                </a:lnTo>
                <a:lnTo>
                  <a:pt x="1792407" y="1196179"/>
                </a:lnTo>
                <a:lnTo>
                  <a:pt x="1805438" y="1151426"/>
                </a:lnTo>
                <a:lnTo>
                  <a:pt x="1809750" y="1133142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12">
            <a:extLst>
              <a:ext uri="{FF2B5EF4-FFF2-40B4-BE49-F238E27FC236}">
                <a16:creationId xmlns:a16="http://schemas.microsoft.com/office/drawing/2014/main" id="{A343D0A0-B3A1-42AE-9B82-2A97DFB48BDE}"/>
              </a:ext>
            </a:extLst>
          </p:cNvPr>
          <p:cNvSpPr/>
          <p:nvPr/>
        </p:nvSpPr>
        <p:spPr>
          <a:xfrm>
            <a:off x="7509623" y="3391830"/>
            <a:ext cx="1268730" cy="1268730"/>
          </a:xfrm>
          <a:custGeom>
            <a:avLst/>
            <a:gdLst/>
            <a:ahLst/>
            <a:cxnLst/>
            <a:rect l="l" t="t" r="r" b="b"/>
            <a:pathLst>
              <a:path w="1268729" h="1268729">
                <a:moveTo>
                  <a:pt x="12953" y="621791"/>
                </a:moveTo>
                <a:lnTo>
                  <a:pt x="9905" y="621791"/>
                </a:lnTo>
                <a:lnTo>
                  <a:pt x="6095" y="623315"/>
                </a:lnTo>
                <a:lnTo>
                  <a:pt x="1523" y="627887"/>
                </a:lnTo>
                <a:lnTo>
                  <a:pt x="0" y="631697"/>
                </a:lnTo>
                <a:lnTo>
                  <a:pt x="0" y="634745"/>
                </a:lnTo>
                <a:lnTo>
                  <a:pt x="761" y="651509"/>
                </a:lnTo>
                <a:lnTo>
                  <a:pt x="761" y="634745"/>
                </a:lnTo>
                <a:lnTo>
                  <a:pt x="12953" y="621791"/>
                </a:lnTo>
                <a:close/>
              </a:path>
              <a:path w="1268729" h="1268729">
                <a:moveTo>
                  <a:pt x="1268729" y="650747"/>
                </a:moveTo>
                <a:lnTo>
                  <a:pt x="1268729" y="617981"/>
                </a:lnTo>
                <a:lnTo>
                  <a:pt x="1267967" y="601979"/>
                </a:lnTo>
                <a:lnTo>
                  <a:pt x="1263674" y="552962"/>
                </a:lnTo>
                <a:lnTo>
                  <a:pt x="1255704" y="505089"/>
                </a:lnTo>
                <a:lnTo>
                  <a:pt x="1244203" y="458504"/>
                </a:lnTo>
                <a:lnTo>
                  <a:pt x="1229319" y="413347"/>
                </a:lnTo>
                <a:lnTo>
                  <a:pt x="1211198" y="369761"/>
                </a:lnTo>
                <a:lnTo>
                  <a:pt x="1189987" y="327887"/>
                </a:lnTo>
                <a:lnTo>
                  <a:pt x="1165833" y="287867"/>
                </a:lnTo>
                <a:lnTo>
                  <a:pt x="1138848" y="249802"/>
                </a:lnTo>
                <a:lnTo>
                  <a:pt x="1109281" y="213955"/>
                </a:lnTo>
                <a:lnTo>
                  <a:pt x="1077177" y="180346"/>
                </a:lnTo>
                <a:lnTo>
                  <a:pt x="1042717" y="149158"/>
                </a:lnTo>
                <a:lnTo>
                  <a:pt x="1006047" y="120531"/>
                </a:lnTo>
                <a:lnTo>
                  <a:pt x="967314" y="94609"/>
                </a:lnTo>
                <a:lnTo>
                  <a:pt x="926665" y="71532"/>
                </a:lnTo>
                <a:lnTo>
                  <a:pt x="884246" y="51443"/>
                </a:lnTo>
                <a:lnTo>
                  <a:pt x="840205" y="34482"/>
                </a:lnTo>
                <a:lnTo>
                  <a:pt x="794688" y="20792"/>
                </a:lnTo>
                <a:lnTo>
                  <a:pt x="747841" y="10514"/>
                </a:lnTo>
                <a:lnTo>
                  <a:pt x="699812" y="3790"/>
                </a:lnTo>
                <a:lnTo>
                  <a:pt x="649985" y="725"/>
                </a:lnTo>
                <a:lnTo>
                  <a:pt x="634745" y="0"/>
                </a:lnTo>
                <a:lnTo>
                  <a:pt x="617981" y="761"/>
                </a:lnTo>
                <a:lnTo>
                  <a:pt x="569860" y="3673"/>
                </a:lnTo>
                <a:lnTo>
                  <a:pt x="522720" y="10173"/>
                </a:lnTo>
                <a:lnTo>
                  <a:pt x="476703" y="20125"/>
                </a:lnTo>
                <a:lnTo>
                  <a:pt x="431950" y="33393"/>
                </a:lnTo>
                <a:lnTo>
                  <a:pt x="388600" y="49843"/>
                </a:lnTo>
                <a:lnTo>
                  <a:pt x="346794" y="69337"/>
                </a:lnTo>
                <a:lnTo>
                  <a:pt x="306672" y="91741"/>
                </a:lnTo>
                <a:lnTo>
                  <a:pt x="268376" y="116918"/>
                </a:lnTo>
                <a:lnTo>
                  <a:pt x="232045" y="144733"/>
                </a:lnTo>
                <a:lnTo>
                  <a:pt x="197819" y="175050"/>
                </a:lnTo>
                <a:lnTo>
                  <a:pt x="165840" y="207734"/>
                </a:lnTo>
                <a:lnTo>
                  <a:pt x="136248" y="242648"/>
                </a:lnTo>
                <a:lnTo>
                  <a:pt x="109183" y="279657"/>
                </a:lnTo>
                <a:lnTo>
                  <a:pt x="84786" y="318625"/>
                </a:lnTo>
                <a:lnTo>
                  <a:pt x="63196" y="359417"/>
                </a:lnTo>
                <a:lnTo>
                  <a:pt x="44555" y="401897"/>
                </a:lnTo>
                <a:lnTo>
                  <a:pt x="29003" y="445928"/>
                </a:lnTo>
                <a:lnTo>
                  <a:pt x="16681" y="491376"/>
                </a:lnTo>
                <a:lnTo>
                  <a:pt x="7728" y="538104"/>
                </a:lnTo>
                <a:lnTo>
                  <a:pt x="2285" y="585977"/>
                </a:lnTo>
                <a:lnTo>
                  <a:pt x="761" y="618743"/>
                </a:lnTo>
                <a:lnTo>
                  <a:pt x="761" y="629792"/>
                </a:lnTo>
                <a:lnTo>
                  <a:pt x="1523" y="627887"/>
                </a:lnTo>
                <a:lnTo>
                  <a:pt x="6095" y="623315"/>
                </a:lnTo>
                <a:lnTo>
                  <a:pt x="9905" y="621791"/>
                </a:lnTo>
                <a:lnTo>
                  <a:pt x="12953" y="621791"/>
                </a:lnTo>
                <a:lnTo>
                  <a:pt x="12953" y="647699"/>
                </a:lnTo>
                <a:lnTo>
                  <a:pt x="25907" y="634745"/>
                </a:lnTo>
                <a:lnTo>
                  <a:pt x="25907" y="618743"/>
                </a:lnTo>
                <a:lnTo>
                  <a:pt x="27431" y="587501"/>
                </a:lnTo>
                <a:lnTo>
                  <a:pt x="32785" y="540726"/>
                </a:lnTo>
                <a:lnTo>
                  <a:pt x="41647" y="495098"/>
                </a:lnTo>
                <a:lnTo>
                  <a:pt x="53872" y="450753"/>
                </a:lnTo>
                <a:lnTo>
                  <a:pt x="69313" y="407829"/>
                </a:lnTo>
                <a:lnTo>
                  <a:pt x="87825" y="366463"/>
                </a:lnTo>
                <a:lnTo>
                  <a:pt x="109262" y="326790"/>
                </a:lnTo>
                <a:lnTo>
                  <a:pt x="133477" y="288949"/>
                </a:lnTo>
                <a:lnTo>
                  <a:pt x="160326" y="253076"/>
                </a:lnTo>
                <a:lnTo>
                  <a:pt x="189661" y="219307"/>
                </a:lnTo>
                <a:lnTo>
                  <a:pt x="221337" y="187780"/>
                </a:lnTo>
                <a:lnTo>
                  <a:pt x="255208" y="158632"/>
                </a:lnTo>
                <a:lnTo>
                  <a:pt x="291128" y="131999"/>
                </a:lnTo>
                <a:lnTo>
                  <a:pt x="328951" y="108018"/>
                </a:lnTo>
                <a:lnTo>
                  <a:pt x="368532" y="86826"/>
                </a:lnTo>
                <a:lnTo>
                  <a:pt x="409724" y="68560"/>
                </a:lnTo>
                <a:lnTo>
                  <a:pt x="452381" y="53357"/>
                </a:lnTo>
                <a:lnTo>
                  <a:pt x="496358" y="41353"/>
                </a:lnTo>
                <a:lnTo>
                  <a:pt x="541508" y="32686"/>
                </a:lnTo>
                <a:lnTo>
                  <a:pt x="587686" y="27491"/>
                </a:lnTo>
                <a:lnTo>
                  <a:pt x="634745" y="25907"/>
                </a:lnTo>
                <a:lnTo>
                  <a:pt x="651509" y="25946"/>
                </a:lnTo>
                <a:lnTo>
                  <a:pt x="714528" y="30999"/>
                </a:lnTo>
                <a:lnTo>
                  <a:pt x="761920" y="39088"/>
                </a:lnTo>
                <a:lnTo>
                  <a:pt x="808010" y="50785"/>
                </a:lnTo>
                <a:lnTo>
                  <a:pt x="852645" y="65935"/>
                </a:lnTo>
                <a:lnTo>
                  <a:pt x="895670" y="84386"/>
                </a:lnTo>
                <a:lnTo>
                  <a:pt x="936932" y="105984"/>
                </a:lnTo>
                <a:lnTo>
                  <a:pt x="976407" y="130673"/>
                </a:lnTo>
                <a:lnTo>
                  <a:pt x="1013549" y="158011"/>
                </a:lnTo>
                <a:lnTo>
                  <a:pt x="1048596" y="188132"/>
                </a:lnTo>
                <a:lnTo>
                  <a:pt x="1081265" y="220789"/>
                </a:lnTo>
                <a:lnTo>
                  <a:pt x="1111400" y="255828"/>
                </a:lnTo>
                <a:lnTo>
                  <a:pt x="1138882" y="293149"/>
                </a:lnTo>
                <a:lnTo>
                  <a:pt x="1163455" y="332438"/>
                </a:lnTo>
                <a:lnTo>
                  <a:pt x="1185068" y="373703"/>
                </a:lnTo>
                <a:lnTo>
                  <a:pt x="1203532" y="416737"/>
                </a:lnTo>
                <a:lnTo>
                  <a:pt x="1218693" y="461388"/>
                </a:lnTo>
                <a:lnTo>
                  <a:pt x="1230398" y="507501"/>
                </a:lnTo>
                <a:lnTo>
                  <a:pt x="1238492" y="554924"/>
                </a:lnTo>
                <a:lnTo>
                  <a:pt x="1242821" y="603503"/>
                </a:lnTo>
                <a:lnTo>
                  <a:pt x="1243583" y="618743"/>
                </a:lnTo>
                <a:lnTo>
                  <a:pt x="1243583" y="812676"/>
                </a:lnTo>
                <a:lnTo>
                  <a:pt x="1245068" y="808094"/>
                </a:lnTo>
                <a:lnTo>
                  <a:pt x="1256171" y="762372"/>
                </a:lnTo>
                <a:lnTo>
                  <a:pt x="1263850" y="715464"/>
                </a:lnTo>
                <a:lnTo>
                  <a:pt x="1267967" y="667511"/>
                </a:lnTo>
                <a:lnTo>
                  <a:pt x="1268729" y="650747"/>
                </a:lnTo>
                <a:close/>
              </a:path>
              <a:path w="1268729" h="1268729">
                <a:moveTo>
                  <a:pt x="1243583" y="812676"/>
                </a:moveTo>
                <a:lnTo>
                  <a:pt x="1243583" y="650747"/>
                </a:lnTo>
                <a:lnTo>
                  <a:pt x="1242821" y="665987"/>
                </a:lnTo>
                <a:lnTo>
                  <a:pt x="1238666" y="713069"/>
                </a:lnTo>
                <a:lnTo>
                  <a:pt x="1230991" y="759046"/>
                </a:lnTo>
                <a:lnTo>
                  <a:pt x="1219935" y="803782"/>
                </a:lnTo>
                <a:lnTo>
                  <a:pt x="1205638" y="847144"/>
                </a:lnTo>
                <a:lnTo>
                  <a:pt x="1188240" y="888995"/>
                </a:lnTo>
                <a:lnTo>
                  <a:pt x="1167880" y="929200"/>
                </a:lnTo>
                <a:lnTo>
                  <a:pt x="1144698" y="967625"/>
                </a:lnTo>
                <a:lnTo>
                  <a:pt x="1118833" y="1004133"/>
                </a:lnTo>
                <a:lnTo>
                  <a:pt x="1090425" y="1038591"/>
                </a:lnTo>
                <a:lnTo>
                  <a:pt x="1059613" y="1070862"/>
                </a:lnTo>
                <a:lnTo>
                  <a:pt x="1026537" y="1100812"/>
                </a:lnTo>
                <a:lnTo>
                  <a:pt x="991336" y="1128304"/>
                </a:lnTo>
                <a:lnTo>
                  <a:pt x="954150" y="1153206"/>
                </a:lnTo>
                <a:lnTo>
                  <a:pt x="915118" y="1175379"/>
                </a:lnTo>
                <a:lnTo>
                  <a:pt x="874381" y="1194691"/>
                </a:lnTo>
                <a:lnTo>
                  <a:pt x="832077" y="1211005"/>
                </a:lnTo>
                <a:lnTo>
                  <a:pt x="788346" y="1224187"/>
                </a:lnTo>
                <a:lnTo>
                  <a:pt x="743327" y="1234100"/>
                </a:lnTo>
                <a:lnTo>
                  <a:pt x="697160" y="1240611"/>
                </a:lnTo>
                <a:lnTo>
                  <a:pt x="651509" y="1243487"/>
                </a:lnTo>
                <a:lnTo>
                  <a:pt x="617981" y="1243534"/>
                </a:lnTo>
                <a:lnTo>
                  <a:pt x="570094" y="1240428"/>
                </a:lnTo>
                <a:lnTo>
                  <a:pt x="522503" y="1233492"/>
                </a:lnTo>
                <a:lnTo>
                  <a:pt x="476129" y="1222923"/>
                </a:lnTo>
                <a:lnTo>
                  <a:pt x="431127" y="1208871"/>
                </a:lnTo>
                <a:lnTo>
                  <a:pt x="387655" y="1191483"/>
                </a:lnTo>
                <a:lnTo>
                  <a:pt x="345868" y="1170910"/>
                </a:lnTo>
                <a:lnTo>
                  <a:pt x="305925" y="1147300"/>
                </a:lnTo>
                <a:lnTo>
                  <a:pt x="267982" y="1120801"/>
                </a:lnTo>
                <a:lnTo>
                  <a:pt x="232195" y="1091563"/>
                </a:lnTo>
                <a:lnTo>
                  <a:pt x="198722" y="1059733"/>
                </a:lnTo>
                <a:lnTo>
                  <a:pt x="167719" y="1025462"/>
                </a:lnTo>
                <a:lnTo>
                  <a:pt x="139343" y="988897"/>
                </a:lnTo>
                <a:lnTo>
                  <a:pt x="113750" y="950188"/>
                </a:lnTo>
                <a:lnTo>
                  <a:pt x="91098" y="909483"/>
                </a:lnTo>
                <a:lnTo>
                  <a:pt x="71543" y="866930"/>
                </a:lnTo>
                <a:lnTo>
                  <a:pt x="55242" y="822680"/>
                </a:lnTo>
                <a:lnTo>
                  <a:pt x="42352" y="776880"/>
                </a:lnTo>
                <a:lnTo>
                  <a:pt x="33030" y="729680"/>
                </a:lnTo>
                <a:lnTo>
                  <a:pt x="27431" y="681227"/>
                </a:lnTo>
                <a:lnTo>
                  <a:pt x="25907" y="641603"/>
                </a:lnTo>
                <a:lnTo>
                  <a:pt x="19811" y="647699"/>
                </a:lnTo>
                <a:lnTo>
                  <a:pt x="12953" y="647699"/>
                </a:lnTo>
                <a:lnTo>
                  <a:pt x="12953" y="621791"/>
                </a:lnTo>
                <a:lnTo>
                  <a:pt x="761" y="634745"/>
                </a:lnTo>
                <a:lnTo>
                  <a:pt x="761" y="651509"/>
                </a:lnTo>
                <a:lnTo>
                  <a:pt x="2285" y="683513"/>
                </a:lnTo>
                <a:lnTo>
                  <a:pt x="7795" y="732297"/>
                </a:lnTo>
                <a:lnTo>
                  <a:pt x="16968" y="779876"/>
                </a:lnTo>
                <a:lnTo>
                  <a:pt x="29652" y="826110"/>
                </a:lnTo>
                <a:lnTo>
                  <a:pt x="45694" y="870857"/>
                </a:lnTo>
                <a:lnTo>
                  <a:pt x="64942" y="913974"/>
                </a:lnTo>
                <a:lnTo>
                  <a:pt x="87244" y="955321"/>
                </a:lnTo>
                <a:lnTo>
                  <a:pt x="112447" y="994754"/>
                </a:lnTo>
                <a:lnTo>
                  <a:pt x="140399" y="1032132"/>
                </a:lnTo>
                <a:lnTo>
                  <a:pt x="170947" y="1067313"/>
                </a:lnTo>
                <a:lnTo>
                  <a:pt x="203939" y="1100156"/>
                </a:lnTo>
                <a:lnTo>
                  <a:pt x="239223" y="1130518"/>
                </a:lnTo>
                <a:lnTo>
                  <a:pt x="276646" y="1158257"/>
                </a:lnTo>
                <a:lnTo>
                  <a:pt x="316055" y="1183232"/>
                </a:lnTo>
                <a:lnTo>
                  <a:pt x="357299" y="1205300"/>
                </a:lnTo>
                <a:lnTo>
                  <a:pt x="400225" y="1224320"/>
                </a:lnTo>
                <a:lnTo>
                  <a:pt x="444680" y="1240150"/>
                </a:lnTo>
                <a:lnTo>
                  <a:pt x="490512" y="1252648"/>
                </a:lnTo>
                <a:lnTo>
                  <a:pt x="537568" y="1261672"/>
                </a:lnTo>
                <a:lnTo>
                  <a:pt x="585697" y="1267080"/>
                </a:lnTo>
                <a:lnTo>
                  <a:pt x="634745" y="1268729"/>
                </a:lnTo>
                <a:lnTo>
                  <a:pt x="651509" y="1268729"/>
                </a:lnTo>
                <a:lnTo>
                  <a:pt x="715504" y="1263874"/>
                </a:lnTo>
                <a:lnTo>
                  <a:pt x="762441" y="1256209"/>
                </a:lnTo>
                <a:lnTo>
                  <a:pt x="808182" y="1245113"/>
                </a:lnTo>
                <a:lnTo>
                  <a:pt x="852645" y="1230703"/>
                </a:lnTo>
                <a:lnTo>
                  <a:pt x="895670" y="1213114"/>
                </a:lnTo>
                <a:lnTo>
                  <a:pt x="936932" y="1192587"/>
                </a:lnTo>
                <a:lnTo>
                  <a:pt x="976407" y="1169224"/>
                </a:lnTo>
                <a:lnTo>
                  <a:pt x="1014083" y="1143078"/>
                </a:lnTo>
                <a:lnTo>
                  <a:pt x="1049727" y="1114343"/>
                </a:lnTo>
                <a:lnTo>
                  <a:pt x="1083202" y="1083159"/>
                </a:lnTo>
                <a:lnTo>
                  <a:pt x="1114367" y="1049666"/>
                </a:lnTo>
                <a:lnTo>
                  <a:pt x="1143084" y="1014006"/>
                </a:lnTo>
                <a:lnTo>
                  <a:pt x="1169213" y="976317"/>
                </a:lnTo>
                <a:lnTo>
                  <a:pt x="1192615" y="936742"/>
                </a:lnTo>
                <a:lnTo>
                  <a:pt x="1213151" y="895419"/>
                </a:lnTo>
                <a:lnTo>
                  <a:pt x="1230682" y="852490"/>
                </a:lnTo>
                <a:lnTo>
                  <a:pt x="1243583" y="812676"/>
                </a:lnTo>
                <a:close/>
              </a:path>
              <a:path w="1268729" h="1268729">
                <a:moveTo>
                  <a:pt x="25907" y="641603"/>
                </a:moveTo>
                <a:lnTo>
                  <a:pt x="25907" y="634745"/>
                </a:lnTo>
                <a:lnTo>
                  <a:pt x="12953" y="647699"/>
                </a:lnTo>
                <a:lnTo>
                  <a:pt x="19811" y="647699"/>
                </a:lnTo>
                <a:lnTo>
                  <a:pt x="25907" y="641603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1" name="object 14">
            <a:extLst>
              <a:ext uri="{FF2B5EF4-FFF2-40B4-BE49-F238E27FC236}">
                <a16:creationId xmlns:a16="http://schemas.microsoft.com/office/drawing/2014/main" id="{1B111FD1-A4B3-4923-B03A-63A6A686DE34}"/>
              </a:ext>
            </a:extLst>
          </p:cNvPr>
          <p:cNvSpPr/>
          <p:nvPr/>
        </p:nvSpPr>
        <p:spPr>
          <a:xfrm>
            <a:off x="4100435" y="3391830"/>
            <a:ext cx="1268095" cy="1268730"/>
          </a:xfrm>
          <a:custGeom>
            <a:avLst/>
            <a:gdLst/>
            <a:ahLst/>
            <a:cxnLst/>
            <a:rect l="l" t="t" r="r" b="b"/>
            <a:pathLst>
              <a:path w="1268095" h="1268729">
                <a:moveTo>
                  <a:pt x="1267968" y="650748"/>
                </a:moveTo>
                <a:lnTo>
                  <a:pt x="1267968" y="617982"/>
                </a:lnTo>
                <a:lnTo>
                  <a:pt x="1266444" y="585978"/>
                </a:lnTo>
                <a:lnTo>
                  <a:pt x="1260998" y="538014"/>
                </a:lnTo>
                <a:lnTo>
                  <a:pt x="1252046" y="491222"/>
                </a:lnTo>
                <a:lnTo>
                  <a:pt x="1239727" y="445735"/>
                </a:lnTo>
                <a:lnTo>
                  <a:pt x="1224182" y="401684"/>
                </a:lnTo>
                <a:lnTo>
                  <a:pt x="1205551" y="359205"/>
                </a:lnTo>
                <a:lnTo>
                  <a:pt x="1183972" y="318428"/>
                </a:lnTo>
                <a:lnTo>
                  <a:pt x="1159587" y="279487"/>
                </a:lnTo>
                <a:lnTo>
                  <a:pt x="1132534" y="242514"/>
                </a:lnTo>
                <a:lnTo>
                  <a:pt x="1102954" y="207643"/>
                </a:lnTo>
                <a:lnTo>
                  <a:pt x="1070986" y="175007"/>
                </a:lnTo>
                <a:lnTo>
                  <a:pt x="1036770" y="144738"/>
                </a:lnTo>
                <a:lnTo>
                  <a:pt x="1000446" y="116969"/>
                </a:lnTo>
                <a:lnTo>
                  <a:pt x="962155" y="91833"/>
                </a:lnTo>
                <a:lnTo>
                  <a:pt x="922034" y="69463"/>
                </a:lnTo>
                <a:lnTo>
                  <a:pt x="880226" y="49991"/>
                </a:lnTo>
                <a:lnTo>
                  <a:pt x="836868" y="33551"/>
                </a:lnTo>
                <a:lnTo>
                  <a:pt x="792102" y="20275"/>
                </a:lnTo>
                <a:lnTo>
                  <a:pt x="746066" y="10296"/>
                </a:lnTo>
                <a:lnTo>
                  <a:pt x="698902" y="3747"/>
                </a:lnTo>
                <a:lnTo>
                  <a:pt x="650748" y="762"/>
                </a:lnTo>
                <a:lnTo>
                  <a:pt x="633984" y="0"/>
                </a:lnTo>
                <a:lnTo>
                  <a:pt x="617220" y="762"/>
                </a:lnTo>
                <a:lnTo>
                  <a:pt x="569104" y="3694"/>
                </a:lnTo>
                <a:lnTo>
                  <a:pt x="521972" y="10207"/>
                </a:lnTo>
                <a:lnTo>
                  <a:pt x="475963" y="20165"/>
                </a:lnTo>
                <a:lnTo>
                  <a:pt x="431217" y="33435"/>
                </a:lnTo>
                <a:lnTo>
                  <a:pt x="387875" y="49880"/>
                </a:lnTo>
                <a:lnTo>
                  <a:pt x="346077" y="69367"/>
                </a:lnTo>
                <a:lnTo>
                  <a:pt x="305964" y="91759"/>
                </a:lnTo>
                <a:lnTo>
                  <a:pt x="267674" y="116923"/>
                </a:lnTo>
                <a:lnTo>
                  <a:pt x="231349" y="144724"/>
                </a:lnTo>
                <a:lnTo>
                  <a:pt x="197129" y="175026"/>
                </a:lnTo>
                <a:lnTo>
                  <a:pt x="165153" y="207695"/>
                </a:lnTo>
                <a:lnTo>
                  <a:pt x="135563" y="242597"/>
                </a:lnTo>
                <a:lnTo>
                  <a:pt x="108498" y="279595"/>
                </a:lnTo>
                <a:lnTo>
                  <a:pt x="84098" y="318556"/>
                </a:lnTo>
                <a:lnTo>
                  <a:pt x="62504" y="359344"/>
                </a:lnTo>
                <a:lnTo>
                  <a:pt x="43855" y="401825"/>
                </a:lnTo>
                <a:lnTo>
                  <a:pt x="28293" y="445863"/>
                </a:lnTo>
                <a:lnTo>
                  <a:pt x="15957" y="491325"/>
                </a:lnTo>
                <a:lnTo>
                  <a:pt x="6987" y="538075"/>
                </a:lnTo>
                <a:lnTo>
                  <a:pt x="1523" y="585978"/>
                </a:lnTo>
                <a:lnTo>
                  <a:pt x="0" y="618744"/>
                </a:lnTo>
                <a:lnTo>
                  <a:pt x="0" y="651510"/>
                </a:lnTo>
                <a:lnTo>
                  <a:pt x="3048" y="699516"/>
                </a:lnTo>
                <a:lnTo>
                  <a:pt x="9931" y="748355"/>
                </a:lnTo>
                <a:lnTo>
                  <a:pt x="20409" y="795844"/>
                </a:lnTo>
                <a:lnTo>
                  <a:pt x="25146" y="811499"/>
                </a:lnTo>
                <a:lnTo>
                  <a:pt x="25146" y="618744"/>
                </a:lnTo>
                <a:lnTo>
                  <a:pt x="26669" y="587502"/>
                </a:lnTo>
                <a:lnTo>
                  <a:pt x="32298" y="540493"/>
                </a:lnTo>
                <a:lnTo>
                  <a:pt x="41352" y="494701"/>
                </a:lnTo>
                <a:lnTo>
                  <a:pt x="53694" y="450255"/>
                </a:lnTo>
                <a:lnTo>
                  <a:pt x="69187" y="407284"/>
                </a:lnTo>
                <a:lnTo>
                  <a:pt x="87694" y="365918"/>
                </a:lnTo>
                <a:lnTo>
                  <a:pt x="109078" y="326285"/>
                </a:lnTo>
                <a:lnTo>
                  <a:pt x="133204" y="288516"/>
                </a:lnTo>
                <a:lnTo>
                  <a:pt x="159933" y="252739"/>
                </a:lnTo>
                <a:lnTo>
                  <a:pt x="189129" y="219084"/>
                </a:lnTo>
                <a:lnTo>
                  <a:pt x="220656" y="187680"/>
                </a:lnTo>
                <a:lnTo>
                  <a:pt x="254376" y="158657"/>
                </a:lnTo>
                <a:lnTo>
                  <a:pt x="290152" y="132143"/>
                </a:lnTo>
                <a:lnTo>
                  <a:pt x="327848" y="108269"/>
                </a:lnTo>
                <a:lnTo>
                  <a:pt x="367328" y="87163"/>
                </a:lnTo>
                <a:lnTo>
                  <a:pt x="408453" y="68955"/>
                </a:lnTo>
                <a:lnTo>
                  <a:pt x="451088" y="53774"/>
                </a:lnTo>
                <a:lnTo>
                  <a:pt x="495095" y="41749"/>
                </a:lnTo>
                <a:lnTo>
                  <a:pt x="540338" y="33010"/>
                </a:lnTo>
                <a:lnTo>
                  <a:pt x="586680" y="27687"/>
                </a:lnTo>
                <a:lnTo>
                  <a:pt x="633984" y="25908"/>
                </a:lnTo>
                <a:lnTo>
                  <a:pt x="650748" y="25944"/>
                </a:lnTo>
                <a:lnTo>
                  <a:pt x="714453" y="31049"/>
                </a:lnTo>
                <a:lnTo>
                  <a:pt x="761779" y="39184"/>
                </a:lnTo>
                <a:lnTo>
                  <a:pt x="807813" y="50921"/>
                </a:lnTo>
                <a:lnTo>
                  <a:pt x="852398" y="66108"/>
                </a:lnTo>
                <a:lnTo>
                  <a:pt x="895380" y="84589"/>
                </a:lnTo>
                <a:lnTo>
                  <a:pt x="936604" y="106214"/>
                </a:lnTo>
                <a:lnTo>
                  <a:pt x="975916" y="130827"/>
                </a:lnTo>
                <a:lnTo>
                  <a:pt x="1013159" y="158275"/>
                </a:lnTo>
                <a:lnTo>
                  <a:pt x="1048180" y="188406"/>
                </a:lnTo>
                <a:lnTo>
                  <a:pt x="1080824" y="221066"/>
                </a:lnTo>
                <a:lnTo>
                  <a:pt x="1110934" y="256102"/>
                </a:lnTo>
                <a:lnTo>
                  <a:pt x="1138357" y="293359"/>
                </a:lnTo>
                <a:lnTo>
                  <a:pt x="1162943" y="332694"/>
                </a:lnTo>
                <a:lnTo>
                  <a:pt x="1184522" y="373928"/>
                </a:lnTo>
                <a:lnTo>
                  <a:pt x="1202954" y="416932"/>
                </a:lnTo>
                <a:lnTo>
                  <a:pt x="1218078" y="461545"/>
                </a:lnTo>
                <a:lnTo>
                  <a:pt x="1229740" y="507613"/>
                </a:lnTo>
                <a:lnTo>
                  <a:pt x="1237786" y="554984"/>
                </a:lnTo>
                <a:lnTo>
                  <a:pt x="1242060" y="603504"/>
                </a:lnTo>
                <a:lnTo>
                  <a:pt x="1242822" y="618744"/>
                </a:lnTo>
                <a:lnTo>
                  <a:pt x="1242822" y="812188"/>
                </a:lnTo>
                <a:lnTo>
                  <a:pt x="1248777" y="792028"/>
                </a:lnTo>
                <a:lnTo>
                  <a:pt x="1258682" y="745991"/>
                </a:lnTo>
                <a:lnTo>
                  <a:pt x="1265124" y="698850"/>
                </a:lnTo>
                <a:lnTo>
                  <a:pt x="1267968" y="650748"/>
                </a:lnTo>
                <a:close/>
              </a:path>
              <a:path w="1268095" h="1268729">
                <a:moveTo>
                  <a:pt x="1242822" y="812188"/>
                </a:moveTo>
                <a:lnTo>
                  <a:pt x="1242822" y="650748"/>
                </a:lnTo>
                <a:lnTo>
                  <a:pt x="1242060" y="665988"/>
                </a:lnTo>
                <a:lnTo>
                  <a:pt x="1237861" y="714414"/>
                </a:lnTo>
                <a:lnTo>
                  <a:pt x="1229856" y="761730"/>
                </a:lnTo>
                <a:lnTo>
                  <a:pt x="1218203" y="807778"/>
                </a:lnTo>
                <a:lnTo>
                  <a:pt x="1203060" y="852399"/>
                </a:lnTo>
                <a:lnTo>
                  <a:pt x="1184522" y="895560"/>
                </a:lnTo>
                <a:lnTo>
                  <a:pt x="1162938" y="936735"/>
                </a:lnTo>
                <a:lnTo>
                  <a:pt x="1138285" y="976120"/>
                </a:lnTo>
                <a:lnTo>
                  <a:pt x="1110774" y="1013450"/>
                </a:lnTo>
                <a:lnTo>
                  <a:pt x="1080568" y="1048563"/>
                </a:lnTo>
                <a:lnTo>
                  <a:pt x="1047826" y="1081298"/>
                </a:lnTo>
                <a:lnTo>
                  <a:pt x="1012706" y="1111498"/>
                </a:lnTo>
                <a:lnTo>
                  <a:pt x="975368" y="1139004"/>
                </a:lnTo>
                <a:lnTo>
                  <a:pt x="935970" y="1163659"/>
                </a:lnTo>
                <a:lnTo>
                  <a:pt x="894671" y="1185302"/>
                </a:lnTo>
                <a:lnTo>
                  <a:pt x="851631" y="1203777"/>
                </a:lnTo>
                <a:lnTo>
                  <a:pt x="807007" y="1218925"/>
                </a:lnTo>
                <a:lnTo>
                  <a:pt x="760959" y="1230587"/>
                </a:lnTo>
                <a:lnTo>
                  <a:pt x="713646" y="1238606"/>
                </a:lnTo>
                <a:lnTo>
                  <a:pt x="665226" y="1242822"/>
                </a:lnTo>
                <a:lnTo>
                  <a:pt x="633984" y="1243584"/>
                </a:lnTo>
                <a:lnTo>
                  <a:pt x="585287" y="1241784"/>
                </a:lnTo>
                <a:lnTo>
                  <a:pt x="537538" y="1236153"/>
                </a:lnTo>
                <a:lnTo>
                  <a:pt x="490900" y="1226835"/>
                </a:lnTo>
                <a:lnTo>
                  <a:pt x="445536" y="1213978"/>
                </a:lnTo>
                <a:lnTo>
                  <a:pt x="401606" y="1197730"/>
                </a:lnTo>
                <a:lnTo>
                  <a:pt x="359274" y="1178237"/>
                </a:lnTo>
                <a:lnTo>
                  <a:pt x="318702" y="1155647"/>
                </a:lnTo>
                <a:lnTo>
                  <a:pt x="280053" y="1130105"/>
                </a:lnTo>
                <a:lnTo>
                  <a:pt x="243487" y="1101761"/>
                </a:lnTo>
                <a:lnTo>
                  <a:pt x="209169" y="1070759"/>
                </a:lnTo>
                <a:lnTo>
                  <a:pt x="177260" y="1037249"/>
                </a:lnTo>
                <a:lnTo>
                  <a:pt x="147922" y="1001376"/>
                </a:lnTo>
                <a:lnTo>
                  <a:pt x="121318" y="963287"/>
                </a:lnTo>
                <a:lnTo>
                  <a:pt x="97610" y="923130"/>
                </a:lnTo>
                <a:lnTo>
                  <a:pt x="76961" y="881052"/>
                </a:lnTo>
                <a:lnTo>
                  <a:pt x="59532" y="837200"/>
                </a:lnTo>
                <a:lnTo>
                  <a:pt x="45487" y="791720"/>
                </a:lnTo>
                <a:lnTo>
                  <a:pt x="34986" y="744760"/>
                </a:lnTo>
                <a:lnTo>
                  <a:pt x="28194" y="696468"/>
                </a:lnTo>
                <a:lnTo>
                  <a:pt x="25146" y="649986"/>
                </a:lnTo>
                <a:lnTo>
                  <a:pt x="25146" y="811499"/>
                </a:lnTo>
                <a:lnTo>
                  <a:pt x="51538" y="886238"/>
                </a:lnTo>
                <a:lnTo>
                  <a:pt x="71886" y="928880"/>
                </a:lnTo>
                <a:lnTo>
                  <a:pt x="95222" y="969641"/>
                </a:lnTo>
                <a:lnTo>
                  <a:pt x="121393" y="1008389"/>
                </a:lnTo>
                <a:lnTo>
                  <a:pt x="150249" y="1044992"/>
                </a:lnTo>
                <a:lnTo>
                  <a:pt x="181637" y="1079318"/>
                </a:lnTo>
                <a:lnTo>
                  <a:pt x="215407" y="1111234"/>
                </a:lnTo>
                <a:lnTo>
                  <a:pt x="251407" y="1140607"/>
                </a:lnTo>
                <a:lnTo>
                  <a:pt x="289485" y="1167306"/>
                </a:lnTo>
                <a:lnTo>
                  <a:pt x="329490" y="1191198"/>
                </a:lnTo>
                <a:lnTo>
                  <a:pt x="371270" y="1212151"/>
                </a:lnTo>
                <a:lnTo>
                  <a:pt x="414674" y="1230032"/>
                </a:lnTo>
                <a:lnTo>
                  <a:pt x="459550" y="1244709"/>
                </a:lnTo>
                <a:lnTo>
                  <a:pt x="505747" y="1256049"/>
                </a:lnTo>
                <a:lnTo>
                  <a:pt x="553113" y="1263921"/>
                </a:lnTo>
                <a:lnTo>
                  <a:pt x="601497" y="1268192"/>
                </a:lnTo>
                <a:lnTo>
                  <a:pt x="650748" y="1268730"/>
                </a:lnTo>
                <a:lnTo>
                  <a:pt x="682752" y="1267206"/>
                </a:lnTo>
                <a:lnTo>
                  <a:pt x="730656" y="1261809"/>
                </a:lnTo>
                <a:lnTo>
                  <a:pt x="777416" y="1252879"/>
                </a:lnTo>
                <a:lnTo>
                  <a:pt x="822895" y="1240558"/>
                </a:lnTo>
                <a:lnTo>
                  <a:pt x="866958" y="1224988"/>
                </a:lnTo>
                <a:lnTo>
                  <a:pt x="909467" y="1206313"/>
                </a:lnTo>
                <a:lnTo>
                  <a:pt x="950287" y="1184676"/>
                </a:lnTo>
                <a:lnTo>
                  <a:pt x="989281" y="1160219"/>
                </a:lnTo>
                <a:lnTo>
                  <a:pt x="1026312" y="1133086"/>
                </a:lnTo>
                <a:lnTo>
                  <a:pt x="1061244" y="1103419"/>
                </a:lnTo>
                <a:lnTo>
                  <a:pt x="1093941" y="1071362"/>
                </a:lnTo>
                <a:lnTo>
                  <a:pt x="1124266" y="1037057"/>
                </a:lnTo>
                <a:lnTo>
                  <a:pt x="1152084" y="1000647"/>
                </a:lnTo>
                <a:lnTo>
                  <a:pt x="1177257" y="962275"/>
                </a:lnTo>
                <a:lnTo>
                  <a:pt x="1199649" y="922084"/>
                </a:lnTo>
                <a:lnTo>
                  <a:pt x="1219124" y="880218"/>
                </a:lnTo>
                <a:lnTo>
                  <a:pt x="1235545" y="836818"/>
                </a:lnTo>
                <a:lnTo>
                  <a:pt x="1242822" y="812188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15">
            <a:extLst>
              <a:ext uri="{FF2B5EF4-FFF2-40B4-BE49-F238E27FC236}">
                <a16:creationId xmlns:a16="http://schemas.microsoft.com/office/drawing/2014/main" id="{EF8D7280-AC37-4EC2-BEA6-FADAF9ADE1C9}"/>
              </a:ext>
            </a:extLst>
          </p:cNvPr>
          <p:cNvSpPr/>
          <p:nvPr/>
        </p:nvSpPr>
        <p:spPr>
          <a:xfrm>
            <a:off x="5818745" y="5168815"/>
            <a:ext cx="1243330" cy="1243330"/>
          </a:xfrm>
          <a:custGeom>
            <a:avLst/>
            <a:gdLst/>
            <a:ahLst/>
            <a:cxnLst/>
            <a:rect l="l" t="t" r="r" b="b"/>
            <a:pathLst>
              <a:path w="1243329" h="1243329">
                <a:moveTo>
                  <a:pt x="1242822" y="621030"/>
                </a:moveTo>
                <a:lnTo>
                  <a:pt x="1240952" y="572507"/>
                </a:lnTo>
                <a:lnTo>
                  <a:pt x="1235437" y="525005"/>
                </a:lnTo>
                <a:lnTo>
                  <a:pt x="1226413" y="478660"/>
                </a:lnTo>
                <a:lnTo>
                  <a:pt x="1214018" y="433611"/>
                </a:lnTo>
                <a:lnTo>
                  <a:pt x="1198390" y="389996"/>
                </a:lnTo>
                <a:lnTo>
                  <a:pt x="1179667" y="347954"/>
                </a:lnTo>
                <a:lnTo>
                  <a:pt x="1157985" y="307622"/>
                </a:lnTo>
                <a:lnTo>
                  <a:pt x="1133484" y="269139"/>
                </a:lnTo>
                <a:lnTo>
                  <a:pt x="1106301" y="232643"/>
                </a:lnTo>
                <a:lnTo>
                  <a:pt x="1076574" y="198272"/>
                </a:lnTo>
                <a:lnTo>
                  <a:pt x="1044439" y="166165"/>
                </a:lnTo>
                <a:lnTo>
                  <a:pt x="1010036" y="136460"/>
                </a:lnTo>
                <a:lnTo>
                  <a:pt x="973502" y="109294"/>
                </a:lnTo>
                <a:lnTo>
                  <a:pt x="934973" y="84807"/>
                </a:lnTo>
                <a:lnTo>
                  <a:pt x="894590" y="63137"/>
                </a:lnTo>
                <a:lnTo>
                  <a:pt x="852488" y="44421"/>
                </a:lnTo>
                <a:lnTo>
                  <a:pt x="808806" y="28798"/>
                </a:lnTo>
                <a:lnTo>
                  <a:pt x="763681" y="16406"/>
                </a:lnTo>
                <a:lnTo>
                  <a:pt x="717252" y="7383"/>
                </a:lnTo>
                <a:lnTo>
                  <a:pt x="669655" y="1869"/>
                </a:lnTo>
                <a:lnTo>
                  <a:pt x="621030" y="0"/>
                </a:lnTo>
                <a:lnTo>
                  <a:pt x="572507" y="1869"/>
                </a:lnTo>
                <a:lnTo>
                  <a:pt x="525005" y="7383"/>
                </a:lnTo>
                <a:lnTo>
                  <a:pt x="478660" y="16406"/>
                </a:lnTo>
                <a:lnTo>
                  <a:pt x="433611" y="28798"/>
                </a:lnTo>
                <a:lnTo>
                  <a:pt x="389996" y="44421"/>
                </a:lnTo>
                <a:lnTo>
                  <a:pt x="347954" y="63137"/>
                </a:lnTo>
                <a:lnTo>
                  <a:pt x="307622" y="84807"/>
                </a:lnTo>
                <a:lnTo>
                  <a:pt x="269139" y="109294"/>
                </a:lnTo>
                <a:lnTo>
                  <a:pt x="232643" y="136460"/>
                </a:lnTo>
                <a:lnTo>
                  <a:pt x="198272" y="166165"/>
                </a:lnTo>
                <a:lnTo>
                  <a:pt x="166165" y="198272"/>
                </a:lnTo>
                <a:lnTo>
                  <a:pt x="136460" y="232643"/>
                </a:lnTo>
                <a:lnTo>
                  <a:pt x="109294" y="269139"/>
                </a:lnTo>
                <a:lnTo>
                  <a:pt x="84807" y="307622"/>
                </a:lnTo>
                <a:lnTo>
                  <a:pt x="63137" y="347954"/>
                </a:lnTo>
                <a:lnTo>
                  <a:pt x="44421" y="389996"/>
                </a:lnTo>
                <a:lnTo>
                  <a:pt x="28798" y="433611"/>
                </a:lnTo>
                <a:lnTo>
                  <a:pt x="16406" y="478660"/>
                </a:lnTo>
                <a:lnTo>
                  <a:pt x="7383" y="525005"/>
                </a:lnTo>
                <a:lnTo>
                  <a:pt x="1869" y="572507"/>
                </a:lnTo>
                <a:lnTo>
                  <a:pt x="0" y="621030"/>
                </a:lnTo>
                <a:lnTo>
                  <a:pt x="1869" y="669655"/>
                </a:lnTo>
                <a:lnTo>
                  <a:pt x="7383" y="717252"/>
                </a:lnTo>
                <a:lnTo>
                  <a:pt x="16406" y="763681"/>
                </a:lnTo>
                <a:lnTo>
                  <a:pt x="28798" y="808806"/>
                </a:lnTo>
                <a:lnTo>
                  <a:pt x="44421" y="852488"/>
                </a:lnTo>
                <a:lnTo>
                  <a:pt x="63137" y="894590"/>
                </a:lnTo>
                <a:lnTo>
                  <a:pt x="84807" y="934974"/>
                </a:lnTo>
                <a:lnTo>
                  <a:pt x="109294" y="973502"/>
                </a:lnTo>
                <a:lnTo>
                  <a:pt x="136460" y="1010036"/>
                </a:lnTo>
                <a:lnTo>
                  <a:pt x="166165" y="1044439"/>
                </a:lnTo>
                <a:lnTo>
                  <a:pt x="198272" y="1076574"/>
                </a:lnTo>
                <a:lnTo>
                  <a:pt x="232643" y="1106301"/>
                </a:lnTo>
                <a:lnTo>
                  <a:pt x="269139" y="1133484"/>
                </a:lnTo>
                <a:lnTo>
                  <a:pt x="307622" y="1157986"/>
                </a:lnTo>
                <a:lnTo>
                  <a:pt x="347954" y="1179667"/>
                </a:lnTo>
                <a:lnTo>
                  <a:pt x="389996" y="1198390"/>
                </a:lnTo>
                <a:lnTo>
                  <a:pt x="433611" y="1214018"/>
                </a:lnTo>
                <a:lnTo>
                  <a:pt x="478660" y="1226413"/>
                </a:lnTo>
                <a:lnTo>
                  <a:pt x="525005" y="1235437"/>
                </a:lnTo>
                <a:lnTo>
                  <a:pt x="572507" y="1240952"/>
                </a:lnTo>
                <a:lnTo>
                  <a:pt x="621030" y="1242822"/>
                </a:lnTo>
                <a:lnTo>
                  <a:pt x="669655" y="1240952"/>
                </a:lnTo>
                <a:lnTo>
                  <a:pt x="717252" y="1235437"/>
                </a:lnTo>
                <a:lnTo>
                  <a:pt x="763681" y="1226413"/>
                </a:lnTo>
                <a:lnTo>
                  <a:pt x="808806" y="1214018"/>
                </a:lnTo>
                <a:lnTo>
                  <a:pt x="852488" y="1198390"/>
                </a:lnTo>
                <a:lnTo>
                  <a:pt x="894590" y="1179667"/>
                </a:lnTo>
                <a:lnTo>
                  <a:pt x="934973" y="1157986"/>
                </a:lnTo>
                <a:lnTo>
                  <a:pt x="973502" y="1133484"/>
                </a:lnTo>
                <a:lnTo>
                  <a:pt x="1010036" y="1106301"/>
                </a:lnTo>
                <a:lnTo>
                  <a:pt x="1044439" y="1076574"/>
                </a:lnTo>
                <a:lnTo>
                  <a:pt x="1076574" y="1044439"/>
                </a:lnTo>
                <a:lnTo>
                  <a:pt x="1106301" y="1010036"/>
                </a:lnTo>
                <a:lnTo>
                  <a:pt x="1133484" y="973502"/>
                </a:lnTo>
                <a:lnTo>
                  <a:pt x="1157985" y="934974"/>
                </a:lnTo>
                <a:lnTo>
                  <a:pt x="1179667" y="894590"/>
                </a:lnTo>
                <a:lnTo>
                  <a:pt x="1198390" y="852488"/>
                </a:lnTo>
                <a:lnTo>
                  <a:pt x="1214018" y="808806"/>
                </a:lnTo>
                <a:lnTo>
                  <a:pt x="1226413" y="763681"/>
                </a:lnTo>
                <a:lnTo>
                  <a:pt x="1235437" y="717252"/>
                </a:lnTo>
                <a:lnTo>
                  <a:pt x="1240952" y="669655"/>
                </a:lnTo>
                <a:lnTo>
                  <a:pt x="1242822" y="621030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16">
            <a:extLst>
              <a:ext uri="{FF2B5EF4-FFF2-40B4-BE49-F238E27FC236}">
                <a16:creationId xmlns:a16="http://schemas.microsoft.com/office/drawing/2014/main" id="{F779325B-4CC9-4481-A282-470A924FA454}"/>
              </a:ext>
            </a:extLst>
          </p:cNvPr>
          <p:cNvSpPr/>
          <p:nvPr/>
        </p:nvSpPr>
        <p:spPr>
          <a:xfrm>
            <a:off x="5769711" y="5166666"/>
            <a:ext cx="1268730" cy="1268730"/>
          </a:xfrm>
          <a:custGeom>
            <a:avLst/>
            <a:gdLst/>
            <a:ahLst/>
            <a:cxnLst/>
            <a:rect l="l" t="t" r="r" b="b"/>
            <a:pathLst>
              <a:path w="1268729" h="1268729">
                <a:moveTo>
                  <a:pt x="1268730" y="650747"/>
                </a:moveTo>
                <a:lnTo>
                  <a:pt x="1268730" y="633983"/>
                </a:lnTo>
                <a:lnTo>
                  <a:pt x="1267968" y="617981"/>
                </a:lnTo>
                <a:lnTo>
                  <a:pt x="1267968" y="601217"/>
                </a:lnTo>
                <a:lnTo>
                  <a:pt x="1263364" y="552078"/>
                </a:lnTo>
                <a:lnTo>
                  <a:pt x="1255167" y="504135"/>
                </a:lnTo>
                <a:lnTo>
                  <a:pt x="1243515" y="457522"/>
                </a:lnTo>
                <a:lnTo>
                  <a:pt x="1228546" y="412376"/>
                </a:lnTo>
                <a:lnTo>
                  <a:pt x="1210398" y="368831"/>
                </a:lnTo>
                <a:lnTo>
                  <a:pt x="1189209" y="327024"/>
                </a:lnTo>
                <a:lnTo>
                  <a:pt x="1165118" y="287090"/>
                </a:lnTo>
                <a:lnTo>
                  <a:pt x="1138264" y="249164"/>
                </a:lnTo>
                <a:lnTo>
                  <a:pt x="1108783" y="213382"/>
                </a:lnTo>
                <a:lnTo>
                  <a:pt x="1076815" y="179879"/>
                </a:lnTo>
                <a:lnTo>
                  <a:pt x="1042498" y="148791"/>
                </a:lnTo>
                <a:lnTo>
                  <a:pt x="1005970" y="120252"/>
                </a:lnTo>
                <a:lnTo>
                  <a:pt x="967369" y="94399"/>
                </a:lnTo>
                <a:lnTo>
                  <a:pt x="926834" y="71367"/>
                </a:lnTo>
                <a:lnTo>
                  <a:pt x="884504" y="51292"/>
                </a:lnTo>
                <a:lnTo>
                  <a:pt x="840515" y="34308"/>
                </a:lnTo>
                <a:lnTo>
                  <a:pt x="795007" y="20551"/>
                </a:lnTo>
                <a:lnTo>
                  <a:pt x="748117" y="10157"/>
                </a:lnTo>
                <a:lnTo>
                  <a:pt x="699985" y="3262"/>
                </a:lnTo>
                <a:lnTo>
                  <a:pt x="650748" y="0"/>
                </a:lnTo>
                <a:lnTo>
                  <a:pt x="617982" y="0"/>
                </a:lnTo>
                <a:lnTo>
                  <a:pt x="569964" y="2971"/>
                </a:lnTo>
                <a:lnTo>
                  <a:pt x="522879" y="9529"/>
                </a:lnTo>
                <a:lnTo>
                  <a:pt x="476874" y="19536"/>
                </a:lnTo>
                <a:lnTo>
                  <a:pt x="432095" y="32858"/>
                </a:lnTo>
                <a:lnTo>
                  <a:pt x="388689" y="49359"/>
                </a:lnTo>
                <a:lnTo>
                  <a:pt x="346803" y="68902"/>
                </a:lnTo>
                <a:lnTo>
                  <a:pt x="306585" y="91352"/>
                </a:lnTo>
                <a:lnTo>
                  <a:pt x="268180" y="116574"/>
                </a:lnTo>
                <a:lnTo>
                  <a:pt x="231736" y="144431"/>
                </a:lnTo>
                <a:lnTo>
                  <a:pt x="197400" y="174788"/>
                </a:lnTo>
                <a:lnTo>
                  <a:pt x="165319" y="207509"/>
                </a:lnTo>
                <a:lnTo>
                  <a:pt x="135639" y="242458"/>
                </a:lnTo>
                <a:lnTo>
                  <a:pt x="108508" y="279500"/>
                </a:lnTo>
                <a:lnTo>
                  <a:pt x="84072" y="318498"/>
                </a:lnTo>
                <a:lnTo>
                  <a:pt x="62478" y="359318"/>
                </a:lnTo>
                <a:lnTo>
                  <a:pt x="43874" y="401822"/>
                </a:lnTo>
                <a:lnTo>
                  <a:pt x="28405" y="445876"/>
                </a:lnTo>
                <a:lnTo>
                  <a:pt x="16220" y="491344"/>
                </a:lnTo>
                <a:lnTo>
                  <a:pt x="7459" y="538138"/>
                </a:lnTo>
                <a:lnTo>
                  <a:pt x="2286" y="585977"/>
                </a:lnTo>
                <a:lnTo>
                  <a:pt x="0" y="617981"/>
                </a:lnTo>
                <a:lnTo>
                  <a:pt x="0" y="629411"/>
                </a:lnTo>
                <a:lnTo>
                  <a:pt x="3048" y="624839"/>
                </a:lnTo>
                <a:lnTo>
                  <a:pt x="12192" y="620267"/>
                </a:lnTo>
                <a:lnTo>
                  <a:pt x="18288" y="621791"/>
                </a:lnTo>
                <a:lnTo>
                  <a:pt x="22098" y="625601"/>
                </a:lnTo>
                <a:lnTo>
                  <a:pt x="22098" y="635290"/>
                </a:lnTo>
                <a:lnTo>
                  <a:pt x="25146" y="633983"/>
                </a:lnTo>
                <a:lnTo>
                  <a:pt x="25146" y="634745"/>
                </a:lnTo>
                <a:lnTo>
                  <a:pt x="25908" y="618743"/>
                </a:lnTo>
                <a:lnTo>
                  <a:pt x="25908" y="602741"/>
                </a:lnTo>
                <a:lnTo>
                  <a:pt x="27432" y="587501"/>
                </a:lnTo>
                <a:lnTo>
                  <a:pt x="32850" y="540375"/>
                </a:lnTo>
                <a:lnTo>
                  <a:pt x="41736" y="494493"/>
                </a:lnTo>
                <a:lnTo>
                  <a:pt x="53949" y="449982"/>
                </a:lnTo>
                <a:lnTo>
                  <a:pt x="69349" y="406967"/>
                </a:lnTo>
                <a:lnTo>
                  <a:pt x="87795" y="365576"/>
                </a:lnTo>
                <a:lnTo>
                  <a:pt x="109148" y="325933"/>
                </a:lnTo>
                <a:lnTo>
                  <a:pt x="133266" y="288165"/>
                </a:lnTo>
                <a:lnTo>
                  <a:pt x="160011" y="252398"/>
                </a:lnTo>
                <a:lnTo>
                  <a:pt x="189241" y="218758"/>
                </a:lnTo>
                <a:lnTo>
                  <a:pt x="220818" y="187371"/>
                </a:lnTo>
                <a:lnTo>
                  <a:pt x="254599" y="158363"/>
                </a:lnTo>
                <a:lnTo>
                  <a:pt x="290446" y="131860"/>
                </a:lnTo>
                <a:lnTo>
                  <a:pt x="328218" y="107988"/>
                </a:lnTo>
                <a:lnTo>
                  <a:pt x="367774" y="86873"/>
                </a:lnTo>
                <a:lnTo>
                  <a:pt x="408976" y="68642"/>
                </a:lnTo>
                <a:lnTo>
                  <a:pt x="451681" y="53420"/>
                </a:lnTo>
                <a:lnTo>
                  <a:pt x="495751" y="41333"/>
                </a:lnTo>
                <a:lnTo>
                  <a:pt x="541046" y="32508"/>
                </a:lnTo>
                <a:lnTo>
                  <a:pt x="587424" y="27070"/>
                </a:lnTo>
                <a:lnTo>
                  <a:pt x="634746" y="25145"/>
                </a:lnTo>
                <a:lnTo>
                  <a:pt x="649986" y="25907"/>
                </a:lnTo>
                <a:lnTo>
                  <a:pt x="666750" y="25980"/>
                </a:lnTo>
                <a:lnTo>
                  <a:pt x="714720" y="30537"/>
                </a:lnTo>
                <a:lnTo>
                  <a:pt x="762251" y="38858"/>
                </a:lnTo>
                <a:lnTo>
                  <a:pt x="808432" y="50724"/>
                </a:lnTo>
                <a:lnTo>
                  <a:pt x="853113" y="65989"/>
                </a:lnTo>
                <a:lnTo>
                  <a:pt x="896146" y="84507"/>
                </a:lnTo>
                <a:lnTo>
                  <a:pt x="937382" y="106132"/>
                </a:lnTo>
                <a:lnTo>
                  <a:pt x="976671" y="130718"/>
                </a:lnTo>
                <a:lnTo>
                  <a:pt x="1013864" y="158119"/>
                </a:lnTo>
                <a:lnTo>
                  <a:pt x="1048813" y="188188"/>
                </a:lnTo>
                <a:lnTo>
                  <a:pt x="1081368" y="220779"/>
                </a:lnTo>
                <a:lnTo>
                  <a:pt x="1111381" y="255747"/>
                </a:lnTo>
                <a:lnTo>
                  <a:pt x="1138702" y="292945"/>
                </a:lnTo>
                <a:lnTo>
                  <a:pt x="1163182" y="332227"/>
                </a:lnTo>
                <a:lnTo>
                  <a:pt x="1184672" y="373447"/>
                </a:lnTo>
                <a:lnTo>
                  <a:pt x="1203024" y="416459"/>
                </a:lnTo>
                <a:lnTo>
                  <a:pt x="1218087" y="461117"/>
                </a:lnTo>
                <a:lnTo>
                  <a:pt x="1229714" y="507274"/>
                </a:lnTo>
                <a:lnTo>
                  <a:pt x="1237754" y="554785"/>
                </a:lnTo>
                <a:lnTo>
                  <a:pt x="1242060" y="603503"/>
                </a:lnTo>
                <a:lnTo>
                  <a:pt x="1242822" y="618743"/>
                </a:lnTo>
                <a:lnTo>
                  <a:pt x="1242822" y="813371"/>
                </a:lnTo>
                <a:lnTo>
                  <a:pt x="1244593" y="807919"/>
                </a:lnTo>
                <a:lnTo>
                  <a:pt x="1255804" y="762070"/>
                </a:lnTo>
                <a:lnTo>
                  <a:pt x="1263639" y="714969"/>
                </a:lnTo>
                <a:lnTo>
                  <a:pt x="1267968" y="666749"/>
                </a:lnTo>
                <a:lnTo>
                  <a:pt x="1268730" y="650747"/>
                </a:lnTo>
                <a:close/>
              </a:path>
              <a:path w="1268729" h="1268729">
                <a:moveTo>
                  <a:pt x="22098" y="625601"/>
                </a:moveTo>
                <a:lnTo>
                  <a:pt x="18288" y="621791"/>
                </a:lnTo>
                <a:lnTo>
                  <a:pt x="12192" y="620267"/>
                </a:lnTo>
                <a:lnTo>
                  <a:pt x="3048" y="624839"/>
                </a:lnTo>
                <a:lnTo>
                  <a:pt x="0" y="629411"/>
                </a:lnTo>
                <a:lnTo>
                  <a:pt x="0" y="633983"/>
                </a:lnTo>
                <a:lnTo>
                  <a:pt x="22098" y="625601"/>
                </a:lnTo>
                <a:close/>
              </a:path>
              <a:path w="1268729" h="1268729">
                <a:moveTo>
                  <a:pt x="22098" y="635290"/>
                </a:moveTo>
                <a:lnTo>
                  <a:pt x="22098" y="625601"/>
                </a:lnTo>
                <a:lnTo>
                  <a:pt x="0" y="633983"/>
                </a:lnTo>
                <a:lnTo>
                  <a:pt x="0" y="650747"/>
                </a:lnTo>
                <a:lnTo>
                  <a:pt x="1524" y="683513"/>
                </a:lnTo>
                <a:lnTo>
                  <a:pt x="3810" y="702416"/>
                </a:lnTo>
                <a:lnTo>
                  <a:pt x="3810" y="643127"/>
                </a:lnTo>
                <a:lnTo>
                  <a:pt x="22098" y="635290"/>
                </a:lnTo>
                <a:close/>
              </a:path>
              <a:path w="1268729" h="1268729">
                <a:moveTo>
                  <a:pt x="25146" y="639317"/>
                </a:moveTo>
                <a:lnTo>
                  <a:pt x="25146" y="633983"/>
                </a:lnTo>
                <a:lnTo>
                  <a:pt x="3810" y="643127"/>
                </a:lnTo>
                <a:lnTo>
                  <a:pt x="7620" y="646937"/>
                </a:lnTo>
                <a:lnTo>
                  <a:pt x="12954" y="647699"/>
                </a:lnTo>
                <a:lnTo>
                  <a:pt x="17526" y="646175"/>
                </a:lnTo>
                <a:lnTo>
                  <a:pt x="22098" y="643889"/>
                </a:lnTo>
                <a:lnTo>
                  <a:pt x="25146" y="639317"/>
                </a:lnTo>
                <a:close/>
              </a:path>
              <a:path w="1268729" h="1268729">
                <a:moveTo>
                  <a:pt x="1242822" y="813371"/>
                </a:moveTo>
                <a:lnTo>
                  <a:pt x="1242822" y="649985"/>
                </a:lnTo>
                <a:lnTo>
                  <a:pt x="1242060" y="665987"/>
                </a:lnTo>
                <a:lnTo>
                  <a:pt x="1237977" y="713026"/>
                </a:lnTo>
                <a:lnTo>
                  <a:pt x="1230363" y="758961"/>
                </a:lnTo>
                <a:lnTo>
                  <a:pt x="1219356" y="803657"/>
                </a:lnTo>
                <a:lnTo>
                  <a:pt x="1205099" y="846979"/>
                </a:lnTo>
                <a:lnTo>
                  <a:pt x="1187733" y="888792"/>
                </a:lnTo>
                <a:lnTo>
                  <a:pt x="1167398" y="928959"/>
                </a:lnTo>
                <a:lnTo>
                  <a:pt x="1144236" y="967347"/>
                </a:lnTo>
                <a:lnTo>
                  <a:pt x="1118387" y="1003819"/>
                </a:lnTo>
                <a:lnTo>
                  <a:pt x="1089993" y="1038241"/>
                </a:lnTo>
                <a:lnTo>
                  <a:pt x="1059194" y="1070476"/>
                </a:lnTo>
                <a:lnTo>
                  <a:pt x="1026132" y="1100390"/>
                </a:lnTo>
                <a:lnTo>
                  <a:pt x="990947" y="1127847"/>
                </a:lnTo>
                <a:lnTo>
                  <a:pt x="953781" y="1152712"/>
                </a:lnTo>
                <a:lnTo>
                  <a:pt x="914775" y="1174850"/>
                </a:lnTo>
                <a:lnTo>
                  <a:pt x="874069" y="1194125"/>
                </a:lnTo>
                <a:lnTo>
                  <a:pt x="831805" y="1210402"/>
                </a:lnTo>
                <a:lnTo>
                  <a:pt x="788123" y="1223545"/>
                </a:lnTo>
                <a:lnTo>
                  <a:pt x="743166" y="1233420"/>
                </a:lnTo>
                <a:lnTo>
                  <a:pt x="697073" y="1239890"/>
                </a:lnTo>
                <a:lnTo>
                  <a:pt x="650748" y="1242774"/>
                </a:lnTo>
                <a:lnTo>
                  <a:pt x="617982" y="1242775"/>
                </a:lnTo>
                <a:lnTo>
                  <a:pt x="570201" y="1239852"/>
                </a:lnTo>
                <a:lnTo>
                  <a:pt x="522680" y="1233056"/>
                </a:lnTo>
                <a:lnTo>
                  <a:pt x="476340" y="1222588"/>
                </a:lnTo>
                <a:lnTo>
                  <a:pt x="431344" y="1208601"/>
                </a:lnTo>
                <a:lnTo>
                  <a:pt x="387853" y="1191249"/>
                </a:lnTo>
                <a:lnTo>
                  <a:pt x="346029" y="1170686"/>
                </a:lnTo>
                <a:lnTo>
                  <a:pt x="306032" y="1147066"/>
                </a:lnTo>
                <a:lnTo>
                  <a:pt x="268025" y="1120543"/>
                </a:lnTo>
                <a:lnTo>
                  <a:pt x="232169" y="1091272"/>
                </a:lnTo>
                <a:lnTo>
                  <a:pt x="198625" y="1059405"/>
                </a:lnTo>
                <a:lnTo>
                  <a:pt x="167555" y="1025097"/>
                </a:lnTo>
                <a:lnTo>
                  <a:pt x="139120" y="988502"/>
                </a:lnTo>
                <a:lnTo>
                  <a:pt x="113483" y="949774"/>
                </a:lnTo>
                <a:lnTo>
                  <a:pt x="90803" y="909066"/>
                </a:lnTo>
                <a:lnTo>
                  <a:pt x="71243" y="866533"/>
                </a:lnTo>
                <a:lnTo>
                  <a:pt x="54965" y="822329"/>
                </a:lnTo>
                <a:lnTo>
                  <a:pt x="42129" y="776607"/>
                </a:lnTo>
                <a:lnTo>
                  <a:pt x="32897" y="729522"/>
                </a:lnTo>
                <a:lnTo>
                  <a:pt x="27432" y="681227"/>
                </a:lnTo>
                <a:lnTo>
                  <a:pt x="25146" y="639317"/>
                </a:lnTo>
                <a:lnTo>
                  <a:pt x="22098" y="643889"/>
                </a:lnTo>
                <a:lnTo>
                  <a:pt x="17526" y="646175"/>
                </a:lnTo>
                <a:lnTo>
                  <a:pt x="12954" y="647699"/>
                </a:lnTo>
                <a:lnTo>
                  <a:pt x="7620" y="646937"/>
                </a:lnTo>
                <a:lnTo>
                  <a:pt x="3810" y="643127"/>
                </a:lnTo>
                <a:lnTo>
                  <a:pt x="3810" y="702416"/>
                </a:lnTo>
                <a:lnTo>
                  <a:pt x="16946" y="780371"/>
                </a:lnTo>
                <a:lnTo>
                  <a:pt x="29844" y="826720"/>
                </a:lnTo>
                <a:lnTo>
                  <a:pt x="46012" y="871508"/>
                </a:lnTo>
                <a:lnTo>
                  <a:pt x="65310" y="914603"/>
                </a:lnTo>
                <a:lnTo>
                  <a:pt x="87597" y="955874"/>
                </a:lnTo>
                <a:lnTo>
                  <a:pt x="112733" y="995191"/>
                </a:lnTo>
                <a:lnTo>
                  <a:pt x="140576" y="1032421"/>
                </a:lnTo>
                <a:lnTo>
                  <a:pt x="170987" y="1067434"/>
                </a:lnTo>
                <a:lnTo>
                  <a:pt x="203825" y="1100099"/>
                </a:lnTo>
                <a:lnTo>
                  <a:pt x="238949" y="1130284"/>
                </a:lnTo>
                <a:lnTo>
                  <a:pt x="276218" y="1157858"/>
                </a:lnTo>
                <a:lnTo>
                  <a:pt x="315493" y="1182691"/>
                </a:lnTo>
                <a:lnTo>
                  <a:pt x="356632" y="1204651"/>
                </a:lnTo>
                <a:lnTo>
                  <a:pt x="399495" y="1223606"/>
                </a:lnTo>
                <a:lnTo>
                  <a:pt x="443941" y="1239426"/>
                </a:lnTo>
                <a:lnTo>
                  <a:pt x="489829" y="1251980"/>
                </a:lnTo>
                <a:lnTo>
                  <a:pt x="537020" y="1261135"/>
                </a:lnTo>
                <a:lnTo>
                  <a:pt x="585372" y="1266762"/>
                </a:lnTo>
                <a:lnTo>
                  <a:pt x="634746" y="1268730"/>
                </a:lnTo>
                <a:lnTo>
                  <a:pt x="649986" y="1268004"/>
                </a:lnTo>
                <a:lnTo>
                  <a:pt x="666750" y="1267967"/>
                </a:lnTo>
                <a:lnTo>
                  <a:pt x="714953" y="1263591"/>
                </a:lnTo>
                <a:lnTo>
                  <a:pt x="762046" y="1255718"/>
                </a:lnTo>
                <a:lnTo>
                  <a:pt x="807895" y="1244482"/>
                </a:lnTo>
                <a:lnTo>
                  <a:pt x="852367" y="1230014"/>
                </a:lnTo>
                <a:lnTo>
                  <a:pt x="895328" y="1212446"/>
                </a:lnTo>
                <a:lnTo>
                  <a:pt x="936646" y="1191911"/>
                </a:lnTo>
                <a:lnTo>
                  <a:pt x="976188" y="1168540"/>
                </a:lnTo>
                <a:lnTo>
                  <a:pt x="1013864" y="1142430"/>
                </a:lnTo>
                <a:lnTo>
                  <a:pt x="1049408" y="1113820"/>
                </a:lnTo>
                <a:lnTo>
                  <a:pt x="1082821" y="1082735"/>
                </a:lnTo>
                <a:lnTo>
                  <a:pt x="1113924" y="1049342"/>
                </a:lnTo>
                <a:lnTo>
                  <a:pt x="1142585" y="1013773"/>
                </a:lnTo>
                <a:lnTo>
                  <a:pt x="1168670" y="976162"/>
                </a:lnTo>
                <a:lnTo>
                  <a:pt x="1192047" y="936638"/>
                </a:lnTo>
                <a:lnTo>
                  <a:pt x="1212582" y="895335"/>
                </a:lnTo>
                <a:lnTo>
                  <a:pt x="1230142" y="852385"/>
                </a:lnTo>
                <a:lnTo>
                  <a:pt x="1242822" y="813371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19">
            <a:extLst>
              <a:ext uri="{FF2B5EF4-FFF2-40B4-BE49-F238E27FC236}">
                <a16:creationId xmlns:a16="http://schemas.microsoft.com/office/drawing/2014/main" id="{0FF1CFA6-38F1-43A6-9436-B9711A387863}"/>
              </a:ext>
            </a:extLst>
          </p:cNvPr>
          <p:cNvSpPr/>
          <p:nvPr/>
        </p:nvSpPr>
        <p:spPr>
          <a:xfrm>
            <a:off x="5932283" y="2893483"/>
            <a:ext cx="1014983" cy="246125"/>
          </a:xfrm>
          <a:prstGeom prst="rect">
            <a:avLst/>
          </a:pr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21">
            <a:extLst>
              <a:ext uri="{FF2B5EF4-FFF2-40B4-BE49-F238E27FC236}">
                <a16:creationId xmlns:a16="http://schemas.microsoft.com/office/drawing/2014/main" id="{B0D36563-D859-4C90-866C-884054FF0450}"/>
              </a:ext>
            </a:extLst>
          </p:cNvPr>
          <p:cNvSpPr/>
          <p:nvPr/>
        </p:nvSpPr>
        <p:spPr>
          <a:xfrm>
            <a:off x="7636115" y="4576741"/>
            <a:ext cx="1014983" cy="249936"/>
          </a:xfrm>
          <a:prstGeom prst="rect">
            <a:avLst/>
          </a:pr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22">
            <a:extLst>
              <a:ext uri="{FF2B5EF4-FFF2-40B4-BE49-F238E27FC236}">
                <a16:creationId xmlns:a16="http://schemas.microsoft.com/office/drawing/2014/main" id="{6525F07D-2DD5-4F70-B9B7-4C05946EB599}"/>
              </a:ext>
            </a:extLst>
          </p:cNvPr>
          <p:cNvSpPr/>
          <p:nvPr/>
        </p:nvSpPr>
        <p:spPr>
          <a:xfrm>
            <a:off x="4228451" y="4576741"/>
            <a:ext cx="1014983" cy="249936"/>
          </a:xfrm>
          <a:prstGeom prst="rect">
            <a:avLst/>
          </a:prstGeom>
          <a:noFill/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1201" y="2013427"/>
            <a:ext cx="9444508" cy="4255077"/>
          </a:xfrm>
          <a:prstGeom prst="rect">
            <a:avLst/>
          </a:prstGeom>
        </p:spPr>
      </p:pic>
      <p:grpSp>
        <p:nvGrpSpPr>
          <p:cNvPr id="25" name="Group 24"/>
          <p:cNvGrpSpPr/>
          <p:nvPr/>
        </p:nvGrpSpPr>
        <p:grpSpPr>
          <a:xfrm>
            <a:off x="10573046" y="0"/>
            <a:ext cx="1597721" cy="1615209"/>
            <a:chOff x="10594279" y="-15009"/>
            <a:chExt cx="1597721" cy="1615209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B2F1FD8C-26EA-47D2-8404-588BA4BBACEB}"/>
                </a:ext>
              </a:extLst>
            </p:cNvPr>
            <p:cNvGrpSpPr/>
            <p:nvPr/>
          </p:nvGrpSpPr>
          <p:grpSpPr>
            <a:xfrm>
              <a:off x="10594279" y="-15009"/>
              <a:ext cx="1597721" cy="1615209"/>
              <a:chOff x="10594279" y="-15009"/>
              <a:chExt cx="1597721" cy="1615209"/>
            </a:xfrm>
          </p:grpSpPr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36AD23A3-DE25-4538-8AC8-0E51F1E0581F}"/>
                  </a:ext>
                </a:extLst>
              </p:cNvPr>
              <p:cNvGrpSpPr/>
              <p:nvPr/>
            </p:nvGrpSpPr>
            <p:grpSpPr>
              <a:xfrm>
                <a:off x="10594279" y="-15009"/>
                <a:ext cx="1597721" cy="1615209"/>
                <a:chOff x="10594279" y="-15009"/>
                <a:chExt cx="1597721" cy="1615209"/>
              </a:xfrm>
            </p:grpSpPr>
            <p:sp>
              <p:nvSpPr>
                <p:cNvPr id="38" name="Right Triangle 37">
                  <a:extLst>
                    <a:ext uri="{FF2B5EF4-FFF2-40B4-BE49-F238E27FC236}">
                      <a16:creationId xmlns:a16="http://schemas.microsoft.com/office/drawing/2014/main" id="{0A03C037-AD20-47EE-8BE5-895488674BF0}"/>
                    </a:ext>
                  </a:extLst>
                </p:cNvPr>
                <p:cNvSpPr/>
                <p:nvPr/>
              </p:nvSpPr>
              <p:spPr bwMode="auto">
                <a:xfrm>
                  <a:off x="10594279" y="-15009"/>
                  <a:ext cx="1597660" cy="1600200"/>
                </a:xfrm>
                <a:prstGeom prst="rtTriangle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  <p:sp>
              <p:nvSpPr>
                <p:cNvPr id="39" name="Right Triangle 38">
                  <a:extLst>
                    <a:ext uri="{FF2B5EF4-FFF2-40B4-BE49-F238E27FC236}">
                      <a16:creationId xmlns:a16="http://schemas.microsoft.com/office/drawing/2014/main" id="{49F901B3-2A93-4ED2-A00E-BF69FF78C77C}"/>
                    </a:ext>
                  </a:extLst>
                </p:cNvPr>
                <p:cNvSpPr/>
                <p:nvPr/>
              </p:nvSpPr>
              <p:spPr bwMode="auto">
                <a:xfrm rot="10800000">
                  <a:off x="10594340" y="0"/>
                  <a:ext cx="1597660" cy="1600200"/>
                </a:xfrm>
                <a:prstGeom prst="rtTriangl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</p:grpSp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EDE04F49-697D-409B-BB11-F88A15AD54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3748"/>
              <a:stretch/>
            </p:blipFill>
            <p:spPr>
              <a:xfrm>
                <a:off x="11454726" y="301037"/>
                <a:ext cx="394374" cy="386940"/>
              </a:xfrm>
              <a:prstGeom prst="rect">
                <a:avLst/>
              </a:prstGeom>
            </p:spPr>
          </p:pic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F2355C5-7A7B-455B-A50F-FE6F7A77BAE4}"/>
                </a:ext>
              </a:extLst>
            </p:cNvPr>
            <p:cNvSpPr/>
            <p:nvPr/>
          </p:nvSpPr>
          <p:spPr bwMode="auto">
            <a:xfrm>
              <a:off x="11393109" y="261649"/>
              <a:ext cx="575745" cy="46571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entury Gothic" pitchFamily="34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01912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165CC22-03E5-44D4-AF90-0B9B575ACD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5347726"/>
              </p:ext>
            </p:extLst>
          </p:nvPr>
        </p:nvGraphicFramePr>
        <p:xfrm>
          <a:off x="12656" y="-15009"/>
          <a:ext cx="12192000" cy="6858000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441006">
                  <a:extLst>
                    <a:ext uri="{9D8B030D-6E8A-4147-A177-3AD203B41FA5}">
                      <a16:colId xmlns:a16="http://schemas.microsoft.com/office/drawing/2014/main" val="1225932609"/>
                    </a:ext>
                  </a:extLst>
                </a:gridCol>
                <a:gridCol w="10750994">
                  <a:extLst>
                    <a:ext uri="{9D8B030D-6E8A-4147-A177-3AD203B41FA5}">
                      <a16:colId xmlns:a16="http://schemas.microsoft.com/office/drawing/2014/main" val="165969625"/>
                    </a:ext>
                  </a:extLst>
                </a:gridCol>
              </a:tblGrid>
              <a:tr h="685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4000" b="1" i="0" kern="1200" dirty="0">
                        <a:solidFill>
                          <a:schemeClr val="dk1"/>
                        </a:solidFill>
                        <a:latin typeface="Futura CE Book" panose="02000504030000020003" pitchFamily="2" charset="0"/>
                        <a:ea typeface="+mn-ea"/>
                        <a:cs typeface="+mn-cs"/>
                      </a:endParaRPr>
                    </a:p>
                  </a:txBody>
                  <a:tcPr vert="vert27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1371600" marR="0" lvl="3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de-AT" sz="1600" i="0" dirty="0">
                        <a:latin typeface="Futura CE Book" panose="02000504030000020003" pitchFamily="2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486999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7ECF4C5-B426-4B1B-9651-B5399180F612}"/>
              </a:ext>
            </a:extLst>
          </p:cNvPr>
          <p:cNvSpPr/>
          <p:nvPr/>
        </p:nvSpPr>
        <p:spPr>
          <a:xfrm rot="16200000">
            <a:off x="-1734671" y="3029623"/>
            <a:ext cx="5027915" cy="7687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50000"/>
              </a:lnSpc>
              <a:defRPr/>
            </a:pPr>
            <a:r>
              <a:rPr lang="en-US" sz="3200" dirty="0">
                <a:latin typeface="Futura CE Book" panose="02000504030000020003" pitchFamily="2" charset="0"/>
              </a:rPr>
              <a:t>Emergence of Technology Banks</a:t>
            </a:r>
          </a:p>
        </p:txBody>
      </p:sp>
      <p:sp>
        <p:nvSpPr>
          <p:cNvPr id="23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>
            <a:off x="166255" y="6367324"/>
            <a:ext cx="3860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A Brave New World? The Future of Banking in Emerging Europe </a:t>
            </a:r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24" name="Slide Number Placeholder 19">
            <a:extLst>
              <a:ext uri="{FF2B5EF4-FFF2-40B4-BE49-F238E27FC236}">
                <a16:creationId xmlns:a16="http://schemas.microsoft.com/office/drawing/2014/main" id="{EE238113-639A-48D7-A13F-6F830A20D66C}"/>
              </a:ext>
            </a:extLst>
          </p:cNvPr>
          <p:cNvSpPr txBox="1">
            <a:spLocks/>
          </p:cNvSpPr>
          <p:nvPr/>
        </p:nvSpPr>
        <p:spPr>
          <a:xfrm>
            <a:off x="8737602" y="6356353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939B1FA-81F2-4940-9AF3-5EAFB5D6669B}" type="slidenum">
              <a:rPr lang="en-US" sz="800" smtClean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pPr algn="r"/>
              <a:t>6</a:t>
            </a:fld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id="{27B37E1D-FCD7-48CE-A647-BF2E1392071C}"/>
              </a:ext>
            </a:extLst>
          </p:cNvPr>
          <p:cNvSpPr txBox="1"/>
          <p:nvPr/>
        </p:nvSpPr>
        <p:spPr>
          <a:xfrm>
            <a:off x="1993785" y="794669"/>
            <a:ext cx="3547346" cy="7711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519">
              <a:lnSpc>
                <a:spcPct val="150000"/>
              </a:lnSpc>
            </a:pPr>
            <a:r>
              <a:rPr lang="en-US" sz="3600" dirty="0">
                <a:latin typeface="Futura CE Book" panose="02000504030000020003"/>
              </a:rPr>
              <a:t>Technology Banks</a:t>
            </a:r>
            <a:endParaRPr lang="en-US" sz="3600" b="1" dirty="0">
              <a:solidFill>
                <a:schemeClr val="bg1">
                  <a:lumMod val="50000"/>
                </a:schemeClr>
              </a:solidFill>
              <a:latin typeface="Futura CE Book" panose="02000504030000020003"/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C1ABFB-D037-41C9-85D5-7FAE06753ACF}"/>
              </a:ext>
            </a:extLst>
          </p:cNvPr>
          <p:cNvSpPr/>
          <p:nvPr/>
        </p:nvSpPr>
        <p:spPr bwMode="auto">
          <a:xfrm>
            <a:off x="1642101" y="1721687"/>
            <a:ext cx="10353017" cy="140161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entury Gothic" pitchFamily="34" charset="0"/>
              <a:cs typeface="Arial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0117" y="2472783"/>
            <a:ext cx="2406843" cy="126359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8656" y="2358844"/>
            <a:ext cx="1807250" cy="136177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7940" y="2347988"/>
            <a:ext cx="1598294" cy="159829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3966" y="4581687"/>
            <a:ext cx="3480035" cy="92146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6714" y="4412545"/>
            <a:ext cx="2123171" cy="125974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2599" y="3970034"/>
            <a:ext cx="2970837" cy="2052578"/>
          </a:xfrm>
          <a:prstGeom prst="rect">
            <a:avLst/>
          </a:prstGeom>
        </p:spPr>
      </p:pic>
      <p:grpSp>
        <p:nvGrpSpPr>
          <p:cNvPr id="21" name="Group 20"/>
          <p:cNvGrpSpPr/>
          <p:nvPr/>
        </p:nvGrpSpPr>
        <p:grpSpPr>
          <a:xfrm>
            <a:off x="10573046" y="0"/>
            <a:ext cx="1597721" cy="1615209"/>
            <a:chOff x="10594279" y="-15009"/>
            <a:chExt cx="1597721" cy="1615209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B2F1FD8C-26EA-47D2-8404-588BA4BBACEB}"/>
                </a:ext>
              </a:extLst>
            </p:cNvPr>
            <p:cNvGrpSpPr/>
            <p:nvPr/>
          </p:nvGrpSpPr>
          <p:grpSpPr>
            <a:xfrm>
              <a:off x="10594279" y="-15009"/>
              <a:ext cx="1597721" cy="1615209"/>
              <a:chOff x="10594279" y="-15009"/>
              <a:chExt cx="1597721" cy="1615209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36AD23A3-DE25-4538-8AC8-0E51F1E0581F}"/>
                  </a:ext>
                </a:extLst>
              </p:cNvPr>
              <p:cNvGrpSpPr/>
              <p:nvPr/>
            </p:nvGrpSpPr>
            <p:grpSpPr>
              <a:xfrm>
                <a:off x="10594279" y="-15009"/>
                <a:ext cx="1597721" cy="1615209"/>
                <a:chOff x="10594279" y="-15009"/>
                <a:chExt cx="1597721" cy="1615209"/>
              </a:xfrm>
            </p:grpSpPr>
            <p:sp>
              <p:nvSpPr>
                <p:cNvPr id="28" name="Right Triangle 27">
                  <a:extLst>
                    <a:ext uri="{FF2B5EF4-FFF2-40B4-BE49-F238E27FC236}">
                      <a16:creationId xmlns:a16="http://schemas.microsoft.com/office/drawing/2014/main" id="{0A03C037-AD20-47EE-8BE5-895488674BF0}"/>
                    </a:ext>
                  </a:extLst>
                </p:cNvPr>
                <p:cNvSpPr/>
                <p:nvPr/>
              </p:nvSpPr>
              <p:spPr bwMode="auto">
                <a:xfrm>
                  <a:off x="10594279" y="-15009"/>
                  <a:ext cx="1597660" cy="1600200"/>
                </a:xfrm>
                <a:prstGeom prst="rtTriangle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  <p:sp>
              <p:nvSpPr>
                <p:cNvPr id="29" name="Right Triangle 28">
                  <a:extLst>
                    <a:ext uri="{FF2B5EF4-FFF2-40B4-BE49-F238E27FC236}">
                      <a16:creationId xmlns:a16="http://schemas.microsoft.com/office/drawing/2014/main" id="{49F901B3-2A93-4ED2-A00E-BF69FF78C77C}"/>
                    </a:ext>
                  </a:extLst>
                </p:cNvPr>
                <p:cNvSpPr/>
                <p:nvPr/>
              </p:nvSpPr>
              <p:spPr bwMode="auto">
                <a:xfrm rot="10800000">
                  <a:off x="10594340" y="0"/>
                  <a:ext cx="1597660" cy="1600200"/>
                </a:xfrm>
                <a:prstGeom prst="rtTriangl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</p:grpSp>
          <p:pic>
            <p:nvPicPr>
              <p:cNvPr id="27" name="Picture 26">
                <a:extLst>
                  <a:ext uri="{FF2B5EF4-FFF2-40B4-BE49-F238E27FC236}">
                    <a16:creationId xmlns:a16="http://schemas.microsoft.com/office/drawing/2014/main" id="{EDE04F49-697D-409B-BB11-F88A15AD54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3748"/>
              <a:stretch/>
            </p:blipFill>
            <p:spPr>
              <a:xfrm>
                <a:off x="11454726" y="301037"/>
                <a:ext cx="394374" cy="386940"/>
              </a:xfrm>
              <a:prstGeom prst="rect">
                <a:avLst/>
              </a:prstGeom>
            </p:spPr>
          </p:pic>
        </p:grp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F2355C5-7A7B-455B-A50F-FE6F7A77BAE4}"/>
                </a:ext>
              </a:extLst>
            </p:cNvPr>
            <p:cNvSpPr/>
            <p:nvPr/>
          </p:nvSpPr>
          <p:spPr bwMode="auto">
            <a:xfrm>
              <a:off x="11393109" y="261649"/>
              <a:ext cx="575745" cy="46571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entury Gothic" pitchFamily="34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59631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165CC22-03E5-44D4-AF90-0B9B575ACD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4775113"/>
              </p:ext>
            </p:extLst>
          </p:nvPr>
        </p:nvGraphicFramePr>
        <p:xfrm>
          <a:off x="12656" y="-15009"/>
          <a:ext cx="12192000" cy="6858000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441006">
                  <a:extLst>
                    <a:ext uri="{9D8B030D-6E8A-4147-A177-3AD203B41FA5}">
                      <a16:colId xmlns:a16="http://schemas.microsoft.com/office/drawing/2014/main" val="1225932609"/>
                    </a:ext>
                  </a:extLst>
                </a:gridCol>
                <a:gridCol w="10750994">
                  <a:extLst>
                    <a:ext uri="{9D8B030D-6E8A-4147-A177-3AD203B41FA5}">
                      <a16:colId xmlns:a16="http://schemas.microsoft.com/office/drawing/2014/main" val="165969625"/>
                    </a:ext>
                  </a:extLst>
                </a:gridCol>
              </a:tblGrid>
              <a:tr h="685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4000" b="1" i="0" kern="1200" dirty="0">
                        <a:solidFill>
                          <a:schemeClr val="dk1"/>
                        </a:solidFill>
                        <a:latin typeface="Futura CE Book" panose="02000504030000020003" pitchFamily="2" charset="0"/>
                        <a:ea typeface="+mn-ea"/>
                        <a:cs typeface="+mn-cs"/>
                      </a:endParaRPr>
                    </a:p>
                  </a:txBody>
                  <a:tcPr vert="vert27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1371600" marR="0" lvl="3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de-AT" sz="1600" i="0" dirty="0">
                        <a:latin typeface="Futura CE Book" panose="02000504030000020003" pitchFamily="2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486999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7ECF4C5-B426-4B1B-9651-B5399180F612}"/>
              </a:ext>
            </a:extLst>
          </p:cNvPr>
          <p:cNvSpPr/>
          <p:nvPr/>
        </p:nvSpPr>
        <p:spPr>
          <a:xfrm rot="16200000">
            <a:off x="-1927290" y="3029621"/>
            <a:ext cx="5362687" cy="7687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50000"/>
              </a:lnSpc>
              <a:defRPr/>
            </a:pPr>
            <a:r>
              <a:rPr lang="en-US" sz="3200" dirty="0">
                <a:solidFill>
                  <a:schemeClr val="dk1"/>
                </a:solidFill>
                <a:latin typeface="Futura CE Book" panose="02000504030000020003" pitchFamily="2" charset="0"/>
              </a:rPr>
              <a:t>From Cash to Electronic Payments</a:t>
            </a:r>
          </a:p>
        </p:txBody>
      </p:sp>
      <p:sp>
        <p:nvSpPr>
          <p:cNvPr id="23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>
            <a:off x="166255" y="6367324"/>
            <a:ext cx="3860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A Brave New World? The Future of Banking in Emerging Europe </a:t>
            </a:r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24" name="Slide Number Placeholder 19">
            <a:extLst>
              <a:ext uri="{FF2B5EF4-FFF2-40B4-BE49-F238E27FC236}">
                <a16:creationId xmlns:a16="http://schemas.microsoft.com/office/drawing/2014/main" id="{EE238113-639A-48D7-A13F-6F830A20D66C}"/>
              </a:ext>
            </a:extLst>
          </p:cNvPr>
          <p:cNvSpPr txBox="1">
            <a:spLocks/>
          </p:cNvSpPr>
          <p:nvPr/>
        </p:nvSpPr>
        <p:spPr>
          <a:xfrm>
            <a:off x="8737602" y="6356353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939B1FA-81F2-4940-9AF3-5EAFB5D6669B}" type="slidenum">
              <a:rPr lang="en-US" sz="800" smtClean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pPr algn="r"/>
              <a:t>7</a:t>
            </a:fld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C1ABFB-D037-41C9-85D5-7FAE06753ACF}"/>
              </a:ext>
            </a:extLst>
          </p:cNvPr>
          <p:cNvSpPr/>
          <p:nvPr/>
        </p:nvSpPr>
        <p:spPr bwMode="auto">
          <a:xfrm>
            <a:off x="1640378" y="1639588"/>
            <a:ext cx="10399732" cy="192382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1A3FC1BB-F6D5-45B9-83C6-8A67AC6409CF}"/>
              </a:ext>
            </a:extLst>
          </p:cNvPr>
          <p:cNvSpPr txBox="1"/>
          <p:nvPr/>
        </p:nvSpPr>
        <p:spPr>
          <a:xfrm>
            <a:off x="1892446" y="855787"/>
            <a:ext cx="7605884" cy="70313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519">
              <a:lnSpc>
                <a:spcPct val="150000"/>
              </a:lnSpc>
            </a:pPr>
            <a:r>
              <a:rPr lang="en-US" sz="3000" dirty="0">
                <a:latin typeface="Futura CE Book" panose="02000504030000020003" pitchFamily="2" charset="0"/>
                <a:cs typeface="Arial"/>
              </a:rPr>
              <a:t>Global volumes and benefits of non-cash transaction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3117" y="2043143"/>
            <a:ext cx="8464061" cy="4341895"/>
          </a:xfrm>
          <a:prstGeom prst="rect">
            <a:avLst/>
          </a:prstGeom>
        </p:spPr>
      </p:pic>
      <p:grpSp>
        <p:nvGrpSpPr>
          <p:cNvPr id="16" name="Group 15"/>
          <p:cNvGrpSpPr/>
          <p:nvPr/>
        </p:nvGrpSpPr>
        <p:grpSpPr>
          <a:xfrm>
            <a:off x="10573046" y="0"/>
            <a:ext cx="1597721" cy="1615209"/>
            <a:chOff x="10594279" y="-15009"/>
            <a:chExt cx="1597721" cy="1615209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B2F1FD8C-26EA-47D2-8404-588BA4BBACEB}"/>
                </a:ext>
              </a:extLst>
            </p:cNvPr>
            <p:cNvGrpSpPr/>
            <p:nvPr/>
          </p:nvGrpSpPr>
          <p:grpSpPr>
            <a:xfrm>
              <a:off x="10594279" y="-15009"/>
              <a:ext cx="1597721" cy="1615209"/>
              <a:chOff x="10594279" y="-15009"/>
              <a:chExt cx="1597721" cy="1615209"/>
            </a:xfrm>
          </p:grpSpPr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36AD23A3-DE25-4538-8AC8-0E51F1E0581F}"/>
                  </a:ext>
                </a:extLst>
              </p:cNvPr>
              <p:cNvGrpSpPr/>
              <p:nvPr/>
            </p:nvGrpSpPr>
            <p:grpSpPr>
              <a:xfrm>
                <a:off x="10594279" y="-15009"/>
                <a:ext cx="1597721" cy="1615209"/>
                <a:chOff x="10594279" y="-15009"/>
                <a:chExt cx="1597721" cy="1615209"/>
              </a:xfrm>
            </p:grpSpPr>
            <p:sp>
              <p:nvSpPr>
                <p:cNvPr id="21" name="Right Triangle 20">
                  <a:extLst>
                    <a:ext uri="{FF2B5EF4-FFF2-40B4-BE49-F238E27FC236}">
                      <a16:creationId xmlns:a16="http://schemas.microsoft.com/office/drawing/2014/main" id="{0A03C037-AD20-47EE-8BE5-895488674BF0}"/>
                    </a:ext>
                  </a:extLst>
                </p:cNvPr>
                <p:cNvSpPr/>
                <p:nvPr/>
              </p:nvSpPr>
              <p:spPr bwMode="auto">
                <a:xfrm>
                  <a:off x="10594279" y="-15009"/>
                  <a:ext cx="1597660" cy="1600200"/>
                </a:xfrm>
                <a:prstGeom prst="rtTriangle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  <p:sp>
              <p:nvSpPr>
                <p:cNvPr id="22" name="Right Triangle 21">
                  <a:extLst>
                    <a:ext uri="{FF2B5EF4-FFF2-40B4-BE49-F238E27FC236}">
                      <a16:creationId xmlns:a16="http://schemas.microsoft.com/office/drawing/2014/main" id="{49F901B3-2A93-4ED2-A00E-BF69FF78C77C}"/>
                    </a:ext>
                  </a:extLst>
                </p:cNvPr>
                <p:cNvSpPr/>
                <p:nvPr/>
              </p:nvSpPr>
              <p:spPr bwMode="auto">
                <a:xfrm rot="10800000">
                  <a:off x="10594340" y="0"/>
                  <a:ext cx="1597660" cy="1600200"/>
                </a:xfrm>
                <a:prstGeom prst="rtTriangl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</p:grp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EDE04F49-697D-409B-BB11-F88A15AD54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3748"/>
              <a:stretch/>
            </p:blipFill>
            <p:spPr>
              <a:xfrm>
                <a:off x="11454726" y="301037"/>
                <a:ext cx="394374" cy="386940"/>
              </a:xfrm>
              <a:prstGeom prst="rect">
                <a:avLst/>
              </a:prstGeom>
            </p:spPr>
          </p:pic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F2355C5-7A7B-455B-A50F-FE6F7A77BAE4}"/>
                </a:ext>
              </a:extLst>
            </p:cNvPr>
            <p:cNvSpPr/>
            <p:nvPr/>
          </p:nvSpPr>
          <p:spPr bwMode="auto">
            <a:xfrm>
              <a:off x="11393109" y="261649"/>
              <a:ext cx="575745" cy="46571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entury Gothic" pitchFamily="34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85639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165CC22-03E5-44D4-AF90-0B9B575ACD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6892636"/>
              </p:ext>
            </p:extLst>
          </p:nvPr>
        </p:nvGraphicFramePr>
        <p:xfrm>
          <a:off x="12656" y="-15009"/>
          <a:ext cx="12192000" cy="6858000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441006">
                  <a:extLst>
                    <a:ext uri="{9D8B030D-6E8A-4147-A177-3AD203B41FA5}">
                      <a16:colId xmlns:a16="http://schemas.microsoft.com/office/drawing/2014/main" val="1225932609"/>
                    </a:ext>
                  </a:extLst>
                </a:gridCol>
                <a:gridCol w="10750994">
                  <a:extLst>
                    <a:ext uri="{9D8B030D-6E8A-4147-A177-3AD203B41FA5}">
                      <a16:colId xmlns:a16="http://schemas.microsoft.com/office/drawing/2014/main" val="165969625"/>
                    </a:ext>
                  </a:extLst>
                </a:gridCol>
              </a:tblGrid>
              <a:tr h="685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4000" b="1" i="0" kern="1200" dirty="0">
                        <a:solidFill>
                          <a:schemeClr val="dk1"/>
                        </a:solidFill>
                        <a:latin typeface="Futura CE Book" panose="02000504030000020003" pitchFamily="2" charset="0"/>
                        <a:ea typeface="+mn-ea"/>
                        <a:cs typeface="+mn-cs"/>
                      </a:endParaRPr>
                    </a:p>
                  </a:txBody>
                  <a:tcPr vert="vert27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1371600" marR="0" lvl="3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de-AT" sz="1600" i="0" dirty="0">
                        <a:latin typeface="Futura CE Book" panose="02000504030000020003" pitchFamily="2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486999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7ECF4C5-B426-4B1B-9651-B5399180F612}"/>
              </a:ext>
            </a:extLst>
          </p:cNvPr>
          <p:cNvSpPr/>
          <p:nvPr/>
        </p:nvSpPr>
        <p:spPr>
          <a:xfrm rot="16200000">
            <a:off x="-1926194" y="3029622"/>
            <a:ext cx="5362687" cy="7687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>
              <a:lnSpc>
                <a:spcPct val="150000"/>
              </a:lnSpc>
              <a:defRPr/>
            </a:pPr>
            <a:r>
              <a:rPr lang="en-US" sz="3200" dirty="0">
                <a:solidFill>
                  <a:schemeClr val="dk1"/>
                </a:solidFill>
                <a:latin typeface="Futura CE Book" panose="02000504030000020003" pitchFamily="2" charset="0"/>
              </a:rPr>
              <a:t>From Cash to Electronic Payments</a:t>
            </a:r>
          </a:p>
        </p:txBody>
      </p:sp>
      <p:sp>
        <p:nvSpPr>
          <p:cNvPr id="23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>
            <a:off x="166255" y="6367324"/>
            <a:ext cx="3860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A Brave New World? The Future of Banking in Emerging Europe </a:t>
            </a:r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24" name="Slide Number Placeholder 19">
            <a:extLst>
              <a:ext uri="{FF2B5EF4-FFF2-40B4-BE49-F238E27FC236}">
                <a16:creationId xmlns:a16="http://schemas.microsoft.com/office/drawing/2014/main" id="{EE238113-639A-48D7-A13F-6F830A20D66C}"/>
              </a:ext>
            </a:extLst>
          </p:cNvPr>
          <p:cNvSpPr txBox="1">
            <a:spLocks/>
          </p:cNvSpPr>
          <p:nvPr/>
        </p:nvSpPr>
        <p:spPr>
          <a:xfrm>
            <a:off x="8737602" y="6356353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939B1FA-81F2-4940-9AF3-5EAFB5D6669B}" type="slidenum">
              <a:rPr lang="en-US" sz="800" smtClean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pPr algn="r"/>
              <a:t>8</a:t>
            </a:fld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C1ABFB-D037-41C9-85D5-7FAE06753ACF}"/>
              </a:ext>
            </a:extLst>
          </p:cNvPr>
          <p:cNvSpPr/>
          <p:nvPr/>
        </p:nvSpPr>
        <p:spPr bwMode="auto">
          <a:xfrm>
            <a:off x="1570891" y="1669467"/>
            <a:ext cx="10418885" cy="207391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id="{1A3FC1BB-F6D5-45B9-83C6-8A67AC6409CF}"/>
              </a:ext>
            </a:extLst>
          </p:cNvPr>
          <p:cNvSpPr txBox="1"/>
          <p:nvPr/>
        </p:nvSpPr>
        <p:spPr>
          <a:xfrm>
            <a:off x="1899005" y="861558"/>
            <a:ext cx="7708754" cy="71371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519">
              <a:lnSpc>
                <a:spcPct val="150000"/>
              </a:lnSpc>
            </a:pPr>
            <a:r>
              <a:rPr lang="en-US" sz="3000" dirty="0">
                <a:latin typeface="Futura CE Book" panose="02000504030000020003" pitchFamily="2" charset="0"/>
                <a:cs typeface="Arial"/>
              </a:rPr>
              <a:t>Global volumes and benefits of non-cash transaction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7841" y="2135725"/>
            <a:ext cx="8546123" cy="4448399"/>
          </a:xfrm>
          <a:prstGeom prst="rect">
            <a:avLst/>
          </a:prstGeom>
        </p:spPr>
      </p:pic>
      <p:grpSp>
        <p:nvGrpSpPr>
          <p:cNvPr id="16" name="Group 15"/>
          <p:cNvGrpSpPr/>
          <p:nvPr/>
        </p:nvGrpSpPr>
        <p:grpSpPr>
          <a:xfrm>
            <a:off x="10573046" y="0"/>
            <a:ext cx="1597721" cy="1615209"/>
            <a:chOff x="10594279" y="-15009"/>
            <a:chExt cx="1597721" cy="1615209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B2F1FD8C-26EA-47D2-8404-588BA4BBACEB}"/>
                </a:ext>
              </a:extLst>
            </p:cNvPr>
            <p:cNvGrpSpPr/>
            <p:nvPr/>
          </p:nvGrpSpPr>
          <p:grpSpPr>
            <a:xfrm>
              <a:off x="10594279" y="-15009"/>
              <a:ext cx="1597721" cy="1615209"/>
              <a:chOff x="10594279" y="-15009"/>
              <a:chExt cx="1597721" cy="1615209"/>
            </a:xfrm>
          </p:grpSpPr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36AD23A3-DE25-4538-8AC8-0E51F1E0581F}"/>
                  </a:ext>
                </a:extLst>
              </p:cNvPr>
              <p:cNvGrpSpPr/>
              <p:nvPr/>
            </p:nvGrpSpPr>
            <p:grpSpPr>
              <a:xfrm>
                <a:off x="10594279" y="-15009"/>
                <a:ext cx="1597721" cy="1615209"/>
                <a:chOff x="10594279" y="-15009"/>
                <a:chExt cx="1597721" cy="1615209"/>
              </a:xfrm>
            </p:grpSpPr>
            <p:sp>
              <p:nvSpPr>
                <p:cNvPr id="21" name="Right Triangle 20">
                  <a:extLst>
                    <a:ext uri="{FF2B5EF4-FFF2-40B4-BE49-F238E27FC236}">
                      <a16:creationId xmlns:a16="http://schemas.microsoft.com/office/drawing/2014/main" id="{0A03C037-AD20-47EE-8BE5-895488674BF0}"/>
                    </a:ext>
                  </a:extLst>
                </p:cNvPr>
                <p:cNvSpPr/>
                <p:nvPr/>
              </p:nvSpPr>
              <p:spPr bwMode="auto">
                <a:xfrm>
                  <a:off x="10594279" y="-15009"/>
                  <a:ext cx="1597660" cy="1600200"/>
                </a:xfrm>
                <a:prstGeom prst="rtTriangle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  <p:sp>
              <p:nvSpPr>
                <p:cNvPr id="22" name="Right Triangle 21">
                  <a:extLst>
                    <a:ext uri="{FF2B5EF4-FFF2-40B4-BE49-F238E27FC236}">
                      <a16:creationId xmlns:a16="http://schemas.microsoft.com/office/drawing/2014/main" id="{49F901B3-2A93-4ED2-A00E-BF69FF78C77C}"/>
                    </a:ext>
                  </a:extLst>
                </p:cNvPr>
                <p:cNvSpPr/>
                <p:nvPr/>
              </p:nvSpPr>
              <p:spPr bwMode="auto">
                <a:xfrm rot="10800000">
                  <a:off x="10594340" y="0"/>
                  <a:ext cx="1597660" cy="1600200"/>
                </a:xfrm>
                <a:prstGeom prst="rtTriangl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</p:grp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EDE04F49-697D-409B-BB11-F88A15AD54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3748"/>
              <a:stretch/>
            </p:blipFill>
            <p:spPr>
              <a:xfrm>
                <a:off x="11454726" y="301037"/>
                <a:ext cx="394374" cy="386940"/>
              </a:xfrm>
              <a:prstGeom prst="rect">
                <a:avLst/>
              </a:prstGeom>
            </p:spPr>
          </p:pic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F2355C5-7A7B-455B-A50F-FE6F7A77BAE4}"/>
                </a:ext>
              </a:extLst>
            </p:cNvPr>
            <p:cNvSpPr/>
            <p:nvPr/>
          </p:nvSpPr>
          <p:spPr bwMode="auto">
            <a:xfrm>
              <a:off x="11393109" y="261649"/>
              <a:ext cx="575745" cy="46571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entury Gothic" pitchFamily="34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64157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165CC22-03E5-44D4-AF90-0B9B575ACD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6353344"/>
              </p:ext>
            </p:extLst>
          </p:nvPr>
        </p:nvGraphicFramePr>
        <p:xfrm>
          <a:off x="-61" y="-15009"/>
          <a:ext cx="12192000" cy="6858000"/>
        </p:xfrm>
        <a:graphic>
          <a:graphicData uri="http://schemas.openxmlformats.org/drawingml/2006/table">
            <a:tbl>
              <a:tblPr>
                <a:tableStyleId>{21E4AEA4-8DFA-4A89-87EB-49C32662AFE0}</a:tableStyleId>
              </a:tblPr>
              <a:tblGrid>
                <a:gridCol w="1477169">
                  <a:extLst>
                    <a:ext uri="{9D8B030D-6E8A-4147-A177-3AD203B41FA5}">
                      <a16:colId xmlns:a16="http://schemas.microsoft.com/office/drawing/2014/main" val="1225932609"/>
                    </a:ext>
                  </a:extLst>
                </a:gridCol>
                <a:gridCol w="10714831">
                  <a:extLst>
                    <a:ext uri="{9D8B030D-6E8A-4147-A177-3AD203B41FA5}">
                      <a16:colId xmlns:a16="http://schemas.microsoft.com/office/drawing/2014/main" val="165969625"/>
                    </a:ext>
                  </a:extLst>
                </a:gridCol>
              </a:tblGrid>
              <a:tr h="685800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4000" b="1" i="0" kern="1200" dirty="0">
                        <a:solidFill>
                          <a:schemeClr val="dk1"/>
                        </a:solidFill>
                        <a:latin typeface="Futura CE Book" panose="02000504030000020003" pitchFamily="2" charset="0"/>
                        <a:ea typeface="+mn-ea"/>
                        <a:cs typeface="+mn-cs"/>
                      </a:endParaRPr>
                    </a:p>
                  </a:txBody>
                  <a:tcPr vert="vert27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1371600" marR="0" lvl="3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de-AT" sz="1600" i="0" dirty="0">
                        <a:latin typeface="Futura CE Book" panose="02000504030000020003" pitchFamily="2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8486999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7ECF4C5-B426-4B1B-9651-B5399180F612}"/>
              </a:ext>
            </a:extLst>
          </p:cNvPr>
          <p:cNvSpPr/>
          <p:nvPr/>
        </p:nvSpPr>
        <p:spPr>
          <a:xfrm rot="16200000">
            <a:off x="-2151808" y="3029623"/>
            <a:ext cx="5929828" cy="7687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en-GB" sz="3200" dirty="0">
                <a:latin typeface="Futura CE Book" panose="02000504030000020003"/>
                <a:ea typeface="Roboto Condensed" panose="02000000000000000000" pitchFamily="2" charset="0"/>
              </a:rPr>
              <a:t>Traditional banks to focus on advisory</a:t>
            </a:r>
          </a:p>
        </p:txBody>
      </p:sp>
      <p:sp>
        <p:nvSpPr>
          <p:cNvPr id="23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>
            <a:off x="158823" y="6367413"/>
            <a:ext cx="3860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A Brave New World? The Future of Banking in Emerging Europe </a:t>
            </a:r>
          </a:p>
        </p:txBody>
      </p:sp>
      <p:sp>
        <p:nvSpPr>
          <p:cNvPr id="24" name="Slide Number Placeholder 19">
            <a:extLst>
              <a:ext uri="{FF2B5EF4-FFF2-40B4-BE49-F238E27FC236}">
                <a16:creationId xmlns:a16="http://schemas.microsoft.com/office/drawing/2014/main" id="{EE238113-639A-48D7-A13F-6F830A20D66C}"/>
              </a:ext>
            </a:extLst>
          </p:cNvPr>
          <p:cNvSpPr txBox="1">
            <a:spLocks/>
          </p:cNvSpPr>
          <p:nvPr/>
        </p:nvSpPr>
        <p:spPr>
          <a:xfrm>
            <a:off x="8737602" y="6356353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939B1FA-81F2-4940-9AF3-5EAFB5D6669B}" type="slidenum">
              <a:rPr lang="en-US" sz="800" smtClean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pPr algn="r"/>
              <a:t>9</a:t>
            </a:fld>
            <a:endParaRPr lang="en-US" sz="800" dirty="0">
              <a:solidFill>
                <a:prstClr val="black">
                  <a:tint val="75000"/>
                </a:prstClr>
              </a:solidFill>
              <a:latin typeface="Tw Cen MT" panose="020B0602020104020603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C1ABFB-D037-41C9-85D5-7FAE06753ACF}"/>
              </a:ext>
            </a:extLst>
          </p:cNvPr>
          <p:cNvSpPr/>
          <p:nvPr/>
        </p:nvSpPr>
        <p:spPr bwMode="auto">
          <a:xfrm>
            <a:off x="1648713" y="1675173"/>
            <a:ext cx="10298907" cy="173640"/>
          </a:xfrm>
          <a:prstGeom prst="rect">
            <a:avLst/>
          </a:prstGeom>
          <a:solidFill>
            <a:srgbClr val="FFFF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ct val="80000"/>
              <a:buFont typeface="Wingdings" pitchFamily="2" charset="2"/>
              <a:buNone/>
              <a:tabLst/>
            </a:pPr>
            <a:endParaRPr kumimoji="0" lang="en-US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entury Gothic" pitchFamily="34" charset="0"/>
              <a:cs typeface="Arial" charset="0"/>
            </a:endParaRPr>
          </a:p>
        </p:txBody>
      </p:sp>
      <p:sp>
        <p:nvSpPr>
          <p:cNvPr id="25" name="object 4">
            <a:extLst>
              <a:ext uri="{FF2B5EF4-FFF2-40B4-BE49-F238E27FC236}">
                <a16:creationId xmlns:a16="http://schemas.microsoft.com/office/drawing/2014/main" id="{53B807F5-B086-49EA-B3D1-D6CB11049FEC}"/>
              </a:ext>
            </a:extLst>
          </p:cNvPr>
          <p:cNvSpPr txBox="1"/>
          <p:nvPr/>
        </p:nvSpPr>
        <p:spPr>
          <a:xfrm>
            <a:off x="1940727" y="856252"/>
            <a:ext cx="7889006" cy="71371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1519">
              <a:lnSpc>
                <a:spcPct val="150000"/>
              </a:lnSpc>
            </a:pPr>
            <a:r>
              <a:rPr lang="en-US" sz="3000" dirty="0">
                <a:latin typeface="Futura CE Book" panose="02000504030000020003" pitchFamily="2" charset="0"/>
                <a:cs typeface="Arial"/>
              </a:rPr>
              <a:t>Competitive differentiators will make the difference…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68994" y="2004832"/>
            <a:ext cx="8227960" cy="4230008"/>
          </a:xfrm>
          <a:prstGeom prst="rect">
            <a:avLst/>
          </a:prstGeom>
        </p:spPr>
      </p:pic>
      <p:sp>
        <p:nvSpPr>
          <p:cNvPr id="17" name="Footer Placeholder 18">
            <a:extLst>
              <a:ext uri="{FF2B5EF4-FFF2-40B4-BE49-F238E27FC236}">
                <a16:creationId xmlns:a16="http://schemas.microsoft.com/office/drawing/2014/main" id="{9E20F96B-A4E4-498A-8413-11DD868E097C}"/>
              </a:ext>
            </a:extLst>
          </p:cNvPr>
          <p:cNvSpPr txBox="1">
            <a:spLocks/>
          </p:cNvSpPr>
          <p:nvPr/>
        </p:nvSpPr>
        <p:spPr>
          <a:xfrm>
            <a:off x="2235139" y="6035418"/>
            <a:ext cx="3860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Source: </a:t>
            </a:r>
            <a:r>
              <a:rPr lang="en-US" sz="800" dirty="0" err="1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Capgemini</a:t>
            </a:r>
            <a:r>
              <a:rPr lang="en-US" sz="800" dirty="0">
                <a:solidFill>
                  <a:prstClr val="black">
                    <a:tint val="75000"/>
                  </a:prstClr>
                </a:solidFill>
                <a:latin typeface="Tw Cen MT" panose="020B0602020104020603" pitchFamily="34" charset="0"/>
              </a:rPr>
              <a:t> Financial Services Analysis 2018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10573046" y="0"/>
            <a:ext cx="1597721" cy="1615209"/>
            <a:chOff x="10594279" y="-15009"/>
            <a:chExt cx="1597721" cy="161520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B2F1FD8C-26EA-47D2-8404-588BA4BBACEB}"/>
                </a:ext>
              </a:extLst>
            </p:cNvPr>
            <p:cNvGrpSpPr/>
            <p:nvPr/>
          </p:nvGrpSpPr>
          <p:grpSpPr>
            <a:xfrm>
              <a:off x="10594279" y="-15009"/>
              <a:ext cx="1597721" cy="1615209"/>
              <a:chOff x="10594279" y="-15009"/>
              <a:chExt cx="1597721" cy="1615209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36AD23A3-DE25-4538-8AC8-0E51F1E0581F}"/>
                  </a:ext>
                </a:extLst>
              </p:cNvPr>
              <p:cNvGrpSpPr/>
              <p:nvPr/>
            </p:nvGrpSpPr>
            <p:grpSpPr>
              <a:xfrm>
                <a:off x="10594279" y="-15009"/>
                <a:ext cx="1597721" cy="1615209"/>
                <a:chOff x="10594279" y="-15009"/>
                <a:chExt cx="1597721" cy="1615209"/>
              </a:xfrm>
            </p:grpSpPr>
            <p:sp>
              <p:nvSpPr>
                <p:cNvPr id="26" name="Right Triangle 25">
                  <a:extLst>
                    <a:ext uri="{FF2B5EF4-FFF2-40B4-BE49-F238E27FC236}">
                      <a16:creationId xmlns:a16="http://schemas.microsoft.com/office/drawing/2014/main" id="{0A03C037-AD20-47EE-8BE5-895488674BF0}"/>
                    </a:ext>
                  </a:extLst>
                </p:cNvPr>
                <p:cNvSpPr/>
                <p:nvPr/>
              </p:nvSpPr>
              <p:spPr bwMode="auto">
                <a:xfrm>
                  <a:off x="10594279" y="-15009"/>
                  <a:ext cx="1597660" cy="1600200"/>
                </a:xfrm>
                <a:prstGeom prst="rtTriangle">
                  <a:avLst/>
                </a:prstGeom>
                <a:solidFill>
                  <a:schemeClr val="tx1">
                    <a:lumMod val="65000"/>
                    <a:lumOff val="3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  <p:sp>
              <p:nvSpPr>
                <p:cNvPr id="27" name="Right Triangle 26">
                  <a:extLst>
                    <a:ext uri="{FF2B5EF4-FFF2-40B4-BE49-F238E27FC236}">
                      <a16:creationId xmlns:a16="http://schemas.microsoft.com/office/drawing/2014/main" id="{49F901B3-2A93-4ED2-A00E-BF69FF78C77C}"/>
                    </a:ext>
                  </a:extLst>
                </p:cNvPr>
                <p:cNvSpPr/>
                <p:nvPr/>
              </p:nvSpPr>
              <p:spPr bwMode="auto">
                <a:xfrm rot="10800000">
                  <a:off x="10594340" y="0"/>
                  <a:ext cx="1597660" cy="1600200"/>
                </a:xfrm>
                <a:prstGeom prst="rtTriangle">
                  <a:avLst/>
                </a:prstGeom>
                <a:solidFill>
                  <a:schemeClr val="bg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90000" tIns="46800" rIns="90000" bIns="4680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1"/>
                    </a:buClr>
                    <a:buSzPct val="80000"/>
                    <a:buFont typeface="Wingdings" pitchFamily="2" charset="2"/>
                    <a:buNone/>
                    <a:tabLst/>
                  </a:pPr>
                  <a:endParaRPr kumimoji="0" lang="en-US" sz="1400" b="0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entury Gothic" pitchFamily="34" charset="0"/>
                    <a:cs typeface="Arial" charset="0"/>
                  </a:endParaRPr>
                </a:p>
              </p:txBody>
            </p:sp>
          </p:grpSp>
          <p:pic>
            <p:nvPicPr>
              <p:cNvPr id="22" name="Picture 21">
                <a:extLst>
                  <a:ext uri="{FF2B5EF4-FFF2-40B4-BE49-F238E27FC236}">
                    <a16:creationId xmlns:a16="http://schemas.microsoft.com/office/drawing/2014/main" id="{EDE04F49-697D-409B-BB11-F88A15AD54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73748"/>
              <a:stretch/>
            </p:blipFill>
            <p:spPr>
              <a:xfrm>
                <a:off x="11454726" y="301037"/>
                <a:ext cx="394374" cy="386940"/>
              </a:xfrm>
              <a:prstGeom prst="rect">
                <a:avLst/>
              </a:prstGeom>
            </p:spPr>
          </p:pic>
        </p:grp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F2355C5-7A7B-455B-A50F-FE6F7A77BAE4}"/>
                </a:ext>
              </a:extLst>
            </p:cNvPr>
            <p:cNvSpPr/>
            <p:nvPr/>
          </p:nvSpPr>
          <p:spPr bwMode="auto">
            <a:xfrm>
              <a:off x="11393109" y="261649"/>
              <a:ext cx="575745" cy="46571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tx1"/>
                </a:buClr>
                <a:buSzPct val="80000"/>
                <a:buFont typeface="Wingdings" pitchFamily="2" charset="2"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entury Gothic" pitchFamily="34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353153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9dXulVFlH2XrFVzVfbm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9dXulVFlH2XrFVzVfb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9dXulVFlH2XrFVzVfb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.amp7WMEqVkUgCSo60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X9J_i.mkiDTxqf9jJR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mANpoQuEyTNytQCzFki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BI">
  <a:themeElements>
    <a:clrScheme name="Raiffeisen Ban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FFFF00"/>
      </a:accent1>
      <a:accent2>
        <a:srgbClr val="5F5F5F"/>
      </a:accent2>
      <a:accent3>
        <a:srgbClr val="969696"/>
      </a:accent3>
      <a:accent4>
        <a:srgbClr val="CDCDCD"/>
      </a:accent4>
      <a:accent5>
        <a:srgbClr val="333399"/>
      </a:accent5>
      <a:accent6>
        <a:srgbClr val="3366FF"/>
      </a:accent6>
      <a:hlink>
        <a:srgbClr val="3366FF"/>
      </a:hlink>
      <a:folHlink>
        <a:srgbClr val="3366FF"/>
      </a:folHlink>
    </a:clrScheme>
    <a:fontScheme name="Raiffeisen Bank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  <a:latin typeface="Century Gothic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solidFill>
            <a:schemeClr val="accent3"/>
          </a:solidFill>
        </a:ln>
      </a:spPr>
      <a:bodyPr wrap="square" lIns="108000" tIns="144000" rIns="108000" bIns="0" rtlCol="0">
        <a:noAutofit/>
      </a:bodyPr>
      <a:lstStyle>
        <a:defPPr>
          <a:spcBef>
            <a:spcPts val="1000"/>
          </a:spcBef>
          <a:defRPr sz="1600" b="1" dirty="0" err="1" smtClean="0">
            <a:latin typeface="Century Gothic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7_Office Theme">
  <a:themeElements>
    <a:clrScheme name="ThemeBMC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0779B7"/>
      </a:accent1>
      <a:accent2>
        <a:srgbClr val="019ADD"/>
      </a:accent2>
      <a:accent3>
        <a:srgbClr val="6BC2ED"/>
      </a:accent3>
      <a:accent4>
        <a:srgbClr val="A7CCDF"/>
      </a:accent4>
      <a:accent5>
        <a:srgbClr val="595959"/>
      </a:accent5>
      <a:accent6>
        <a:srgbClr val="3F3F3F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168</TotalTime>
  <Words>751</Words>
  <Application>Microsoft Office PowerPoint</Application>
  <PresentationFormat>Widescreen</PresentationFormat>
  <Paragraphs>131</Paragraphs>
  <Slides>20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4" baseType="lpstr">
      <vt:lpstr>Arial</vt:lpstr>
      <vt:lpstr>Calibri</vt:lpstr>
      <vt:lpstr>Century Gothic</vt:lpstr>
      <vt:lpstr>Futura</vt:lpstr>
      <vt:lpstr>Futura CE Book</vt:lpstr>
      <vt:lpstr>Roboto</vt:lpstr>
      <vt:lpstr>Roboto Condensed</vt:lpstr>
      <vt:lpstr>Tahoma</vt:lpstr>
      <vt:lpstr>Trebuchet MS</vt:lpstr>
      <vt:lpstr>Tw Cen MT</vt:lpstr>
      <vt:lpstr>Wingdings</vt:lpstr>
      <vt:lpstr>RBI</vt:lpstr>
      <vt:lpstr>7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smi HIBRAJ</dc:creator>
  <cp:lastModifiedBy>Elona GRABOCKA</cp:lastModifiedBy>
  <cp:revision>223</cp:revision>
  <dcterms:created xsi:type="dcterms:W3CDTF">2019-09-24T09:17:00Z</dcterms:created>
  <dcterms:modified xsi:type="dcterms:W3CDTF">2019-10-02T15:39:44Z</dcterms:modified>
</cp:coreProperties>
</file>